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8.xml" ContentType="application/vnd.openxmlformats-officedocument.presentationml.tags+xml"/>
  <Override PartName="/ppt/notesSlides/notesSlide1.xml" ContentType="application/vnd.openxmlformats-officedocument.presentationml.notesSlide+xml"/>
  <Override PartName="/ppt/tags/tag109.xml" ContentType="application/vnd.openxmlformats-officedocument.presentationml.tags+xml"/>
  <Override PartName="/ppt/notesSlides/notesSlide2.xml" ContentType="application/vnd.openxmlformats-officedocument.presentationml.notesSlide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tags/tag111.xml" ContentType="application/vnd.openxmlformats-officedocument.presentationml.tags+xml"/>
  <Override PartName="/ppt/notesSlides/notesSlide4.xml" ContentType="application/vnd.openxmlformats-officedocument.presentationml.notesSlide+xml"/>
  <Override PartName="/ppt/tags/tag112.xml" ContentType="application/vnd.openxmlformats-officedocument.presentationml.tags+xml"/>
  <Override PartName="/ppt/notesSlides/notesSlide5.xml" ContentType="application/vnd.openxmlformats-officedocument.presentationml.notesSlide+xml"/>
  <Override PartName="/ppt/tags/tag113.xml" ContentType="application/vnd.openxmlformats-officedocument.presentationml.tags+xml"/>
  <Override PartName="/ppt/notesSlides/notesSlide6.xml" ContentType="application/vnd.openxmlformats-officedocument.presentationml.notesSlide+xml"/>
  <Override PartName="/ppt/tags/tag114.xml" ContentType="application/vnd.openxmlformats-officedocument.presentationml.tags+xml"/>
  <Override PartName="/ppt/notesSlides/notesSlide7.xml" ContentType="application/vnd.openxmlformats-officedocument.presentationml.notesSlide+xml"/>
  <Override PartName="/ppt/tags/tag115.xml" ContentType="application/vnd.openxmlformats-officedocument.presentationml.tags+xml"/>
  <Override PartName="/ppt/notesSlides/notesSlide8.xml" ContentType="application/vnd.openxmlformats-officedocument.presentationml.notesSlide+xml"/>
  <Override PartName="/ppt/tags/tag116.xml" ContentType="application/vnd.openxmlformats-officedocument.presentationml.tags+xml"/>
  <Override PartName="/ppt/notesSlides/notesSlide9.xml" ContentType="application/vnd.openxmlformats-officedocument.presentationml.notesSlide+xml"/>
  <Override PartName="/ppt/tags/tag117.xml" ContentType="application/vnd.openxmlformats-officedocument.presentationml.tags+xml"/>
  <Override PartName="/ppt/notesSlides/notesSlide10.xml" ContentType="application/vnd.openxmlformats-officedocument.presentationml.notesSlide+xml"/>
  <Override PartName="/ppt/tags/tag118.xml" ContentType="application/vnd.openxmlformats-officedocument.presentationml.tags+xml"/>
  <Override PartName="/ppt/notesSlides/notesSlide11.xml" ContentType="application/vnd.openxmlformats-officedocument.presentationml.notesSlide+xml"/>
  <Override PartName="/ppt/tags/tag119.xml" ContentType="application/vnd.openxmlformats-officedocument.presentationml.tags+xml"/>
  <Override PartName="/ppt/notesSlides/notesSlide12.xml" ContentType="application/vnd.openxmlformats-officedocument.presentationml.notesSlide+xml"/>
  <Override PartName="/ppt/tags/tag120.xml" ContentType="application/vnd.openxmlformats-officedocument.presentationml.tags+xml"/>
  <Override PartName="/ppt/notesSlides/notesSlide13.xml" ContentType="application/vnd.openxmlformats-officedocument.presentationml.notesSlide+xml"/>
  <Override PartName="/ppt/tags/tag121.xml" ContentType="application/vnd.openxmlformats-officedocument.presentationml.tags+xml"/>
  <Override PartName="/ppt/notesSlides/notesSlide14.xml" ContentType="application/vnd.openxmlformats-officedocument.presentationml.notesSlide+xml"/>
  <Override PartName="/ppt/tags/tag122.xml" ContentType="application/vnd.openxmlformats-officedocument.presentationml.tags+xml"/>
  <Override PartName="/ppt/notesSlides/notesSlide15.xml" ContentType="application/vnd.openxmlformats-officedocument.presentationml.notesSlide+xml"/>
  <Override PartName="/ppt/tags/tag123.xml" ContentType="application/vnd.openxmlformats-officedocument.presentationml.tags+xml"/>
  <Override PartName="/ppt/notesSlides/notesSlide16.xml" ContentType="application/vnd.openxmlformats-officedocument.presentationml.notesSlide+xml"/>
  <Override PartName="/ppt/tags/tag124.xml" ContentType="application/vnd.openxmlformats-officedocument.presentationml.tags+xml"/>
  <Override PartName="/ppt/notesSlides/notesSlide17.xml" ContentType="application/vnd.openxmlformats-officedocument.presentationml.notesSlide+xml"/>
  <Override PartName="/ppt/tags/tag125.xml" ContentType="application/vnd.openxmlformats-officedocument.presentationml.tags+xml"/>
  <Override PartName="/ppt/notesSlides/notesSlide18.xml" ContentType="application/vnd.openxmlformats-officedocument.presentationml.notesSlide+xml"/>
  <Override PartName="/ppt/tags/tag126.xml" ContentType="application/vnd.openxmlformats-officedocument.presentationml.tags+xml"/>
  <Override PartName="/ppt/notesSlides/notesSlide19.xml" ContentType="application/vnd.openxmlformats-officedocument.presentationml.notesSlide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tags/tag128.xml" ContentType="application/vnd.openxmlformats-officedocument.presentationml.tags+xml"/>
  <Override PartName="/ppt/notesSlides/notesSlide21.xml" ContentType="application/vnd.openxmlformats-officedocument.presentationml.notesSlide+xml"/>
  <Override PartName="/ppt/tags/tag129.xml" ContentType="application/vnd.openxmlformats-officedocument.presentationml.tags+xml"/>
  <Override PartName="/ppt/notesSlides/notesSlide22.xml" ContentType="application/vnd.openxmlformats-officedocument.presentationml.notesSlide+xml"/>
  <Override PartName="/ppt/tags/tag130.xml" ContentType="application/vnd.openxmlformats-officedocument.presentationml.tags+xml"/>
  <Override PartName="/ppt/notesSlides/notesSlide23.xml" ContentType="application/vnd.openxmlformats-officedocument.presentationml.notesSlide+xml"/>
  <Override PartName="/ppt/tags/tag131.xml" ContentType="application/vnd.openxmlformats-officedocument.presentationml.tags+xml"/>
  <Override PartName="/ppt/notesSlides/notesSlide24.xml" ContentType="application/vnd.openxmlformats-officedocument.presentationml.notesSlide+xml"/>
  <Override PartName="/ppt/tags/tag132.xml" ContentType="application/vnd.openxmlformats-officedocument.presentationml.tags+xml"/>
  <Override PartName="/ppt/notesSlides/notesSlide25.xml" ContentType="application/vnd.openxmlformats-officedocument.presentationml.notesSlide+xml"/>
  <Override PartName="/ppt/tags/tag133.xml" ContentType="application/vnd.openxmlformats-officedocument.presentationml.tags+xml"/>
  <Override PartName="/ppt/notesSlides/notesSlide26.xml" ContentType="application/vnd.openxmlformats-officedocument.presentationml.notesSlide+xml"/>
  <Override PartName="/ppt/tags/tag134.xml" ContentType="application/vnd.openxmlformats-officedocument.presentationml.tags+xml"/>
  <Override PartName="/ppt/notesSlides/notesSlide27.xml" ContentType="application/vnd.openxmlformats-officedocument.presentationml.notesSlide+xml"/>
  <Override PartName="/ppt/tags/tag135.xml" ContentType="application/vnd.openxmlformats-officedocument.presentationml.tags+xml"/>
  <Override PartName="/ppt/notesSlides/notesSlide28.xml" ContentType="application/vnd.openxmlformats-officedocument.presentationml.notesSlide+xml"/>
  <Override PartName="/ppt/tags/tag136.xml" ContentType="application/vnd.openxmlformats-officedocument.presentationml.tags+xml"/>
  <Override PartName="/ppt/notesSlides/notesSlide29.xml" ContentType="application/vnd.openxmlformats-officedocument.presentationml.notesSlide+xml"/>
  <Override PartName="/ppt/tags/tag137.xml" ContentType="application/vnd.openxmlformats-officedocument.presentationml.tags+xml"/>
  <Override PartName="/ppt/notesSlides/notesSlide30.xml" ContentType="application/vnd.openxmlformats-officedocument.presentationml.notesSlide+xml"/>
  <Override PartName="/ppt/tags/tag138.xml" ContentType="application/vnd.openxmlformats-officedocument.presentationml.tags+xml"/>
  <Override PartName="/ppt/notesSlides/notesSlide31.xml" ContentType="application/vnd.openxmlformats-officedocument.presentationml.notesSlide+xml"/>
  <Override PartName="/ppt/tags/tag139.xml" ContentType="application/vnd.openxmlformats-officedocument.presentationml.tags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</p:sldMasterIdLst>
  <p:notesMasterIdLst>
    <p:notesMasterId r:id="rId81"/>
  </p:notesMasterIdLst>
  <p:handoutMasterIdLst>
    <p:handoutMasterId r:id="rId82"/>
  </p:handoutMasterIdLst>
  <p:sldIdLst>
    <p:sldId id="389" r:id="rId6"/>
    <p:sldId id="269" r:id="rId7"/>
    <p:sldId id="557" r:id="rId8"/>
    <p:sldId id="575" r:id="rId9"/>
    <p:sldId id="626" r:id="rId10"/>
    <p:sldId id="627" r:id="rId11"/>
    <p:sldId id="628" r:id="rId12"/>
    <p:sldId id="558" r:id="rId13"/>
    <p:sldId id="595" r:id="rId14"/>
    <p:sldId id="618" r:id="rId15"/>
    <p:sldId id="620" r:id="rId16"/>
    <p:sldId id="621" r:id="rId17"/>
    <p:sldId id="622" r:id="rId18"/>
    <p:sldId id="623" r:id="rId19"/>
    <p:sldId id="625" r:id="rId20"/>
    <p:sldId id="559" r:id="rId21"/>
    <p:sldId id="596" r:id="rId22"/>
    <p:sldId id="629" r:id="rId23"/>
    <p:sldId id="630" r:id="rId24"/>
    <p:sldId id="631" r:id="rId25"/>
    <p:sldId id="632" r:id="rId26"/>
    <p:sldId id="633" r:id="rId27"/>
    <p:sldId id="562" r:id="rId28"/>
    <p:sldId id="567" r:id="rId29"/>
    <p:sldId id="568" r:id="rId30"/>
    <p:sldId id="569" r:id="rId31"/>
    <p:sldId id="560" r:id="rId32"/>
    <p:sldId id="561" r:id="rId33"/>
    <p:sldId id="564" r:id="rId34"/>
    <p:sldId id="566" r:id="rId35"/>
    <p:sldId id="570" r:id="rId36"/>
    <p:sldId id="274" r:id="rId37"/>
    <p:sldId id="578" r:id="rId38"/>
    <p:sldId id="577" r:id="rId39"/>
    <p:sldId id="576" r:id="rId40"/>
    <p:sldId id="579" r:id="rId41"/>
    <p:sldId id="582" r:id="rId42"/>
    <p:sldId id="581" r:id="rId43"/>
    <p:sldId id="583" r:id="rId44"/>
    <p:sldId id="584" r:id="rId45"/>
    <p:sldId id="586" r:id="rId46"/>
    <p:sldId id="588" r:id="rId47"/>
    <p:sldId id="275" r:id="rId48"/>
    <p:sldId id="587" r:id="rId49"/>
    <p:sldId id="267" r:id="rId50"/>
    <p:sldId id="589" r:id="rId51"/>
    <p:sldId id="590" r:id="rId52"/>
    <p:sldId id="591" r:id="rId53"/>
    <p:sldId id="592" r:id="rId54"/>
    <p:sldId id="597" r:id="rId55"/>
    <p:sldId id="602" r:id="rId56"/>
    <p:sldId id="599" r:id="rId57"/>
    <p:sldId id="603" r:id="rId58"/>
    <p:sldId id="601" r:id="rId59"/>
    <p:sldId id="606" r:id="rId60"/>
    <p:sldId id="607" r:id="rId61"/>
    <p:sldId id="608" r:id="rId62"/>
    <p:sldId id="594" r:id="rId63"/>
    <p:sldId id="593" r:id="rId64"/>
    <p:sldId id="610" r:id="rId65"/>
    <p:sldId id="609" r:id="rId66"/>
    <p:sldId id="611" r:id="rId67"/>
    <p:sldId id="612" r:id="rId68"/>
    <p:sldId id="616" r:id="rId69"/>
    <p:sldId id="619" r:id="rId70"/>
    <p:sldId id="615" r:id="rId71"/>
    <p:sldId id="617" r:id="rId72"/>
    <p:sldId id="634" r:id="rId73"/>
    <p:sldId id="637" r:id="rId74"/>
    <p:sldId id="638" r:id="rId75"/>
    <p:sldId id="639" r:id="rId76"/>
    <p:sldId id="640" r:id="rId77"/>
    <p:sldId id="641" r:id="rId78"/>
    <p:sldId id="642" r:id="rId79"/>
    <p:sldId id="288" r:id="rId80"/>
  </p:sldIdLst>
  <p:sldSz cx="9144000" cy="5145088"/>
  <p:notesSz cx="6858000" cy="9144000"/>
  <p:custDataLst>
    <p:tags r:id="rId8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1CB64-41DE-4E99-AA61-015D66A9A29C}" v="1018" dt="2025-09-09T05:21:01.675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3" autoAdjust="0"/>
    <p:restoredTop sz="92929" autoAdjust="0"/>
  </p:normalViewPr>
  <p:slideViewPr>
    <p:cSldViewPr snapToGrid="0" showGuides="1">
      <p:cViewPr>
        <p:scale>
          <a:sx n="90" d="100"/>
          <a:sy n="90" d="100"/>
        </p:scale>
        <p:origin x="588" y="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48" d="100"/>
          <a:sy n="48" d="100"/>
        </p:scale>
        <p:origin x="2684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presProps" Target="presProps.xml"/><Relationship Id="rId89" Type="http://schemas.microsoft.com/office/2015/10/relationships/revisionInfo" Target="revisionInfo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1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slide" Target="slides/slide75.xml"/><Relationship Id="rId85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tags" Target="tags/tag1.xml"/><Relationship Id="rId88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notesMaster" Target="notesMasters/notesMaster1.xml"/><Relationship Id="rId86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tableStyles" Target="tableStyles.xml"/><Relationship Id="rId61" Type="http://schemas.openxmlformats.org/officeDocument/2006/relationships/slide" Target="slides/slide56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1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vedha N A" userId="48795343-f4b0-4368-b9f1-c6e5f3910d48" providerId="ADAL" clId="{3E51CB64-41DE-4E99-AA61-015D66A9A29C}"/>
    <pc:docChg chg="undo custSel addSld delSld modSld sldOrd">
      <pc:chgData name="Nivedha N A" userId="48795343-f4b0-4368-b9f1-c6e5f3910d48" providerId="ADAL" clId="{3E51CB64-41DE-4E99-AA61-015D66A9A29C}" dt="2025-09-09T05:21:38.287" v="9730" actId="20577"/>
      <pc:docMkLst>
        <pc:docMk/>
      </pc:docMkLst>
      <pc:sldChg chg="modSp del">
        <pc:chgData name="Nivedha N A" userId="48795343-f4b0-4368-b9f1-c6e5f3910d48" providerId="ADAL" clId="{3E51CB64-41DE-4E99-AA61-015D66A9A29C}" dt="2025-09-01T09:44:53.877" v="22" actId="2696"/>
        <pc:sldMkLst>
          <pc:docMk/>
          <pc:sldMk cId="2860242000" sldId="257"/>
        </pc:sldMkLst>
      </pc:sldChg>
      <pc:sldChg chg="del">
        <pc:chgData name="Nivedha N A" userId="48795343-f4b0-4368-b9f1-c6e5f3910d48" providerId="ADAL" clId="{3E51CB64-41DE-4E99-AA61-015D66A9A29C}" dt="2025-09-01T09:44:34.675" v="21" actId="2696"/>
        <pc:sldMkLst>
          <pc:docMk/>
          <pc:sldMk cId="4124568962" sldId="259"/>
        </pc:sldMkLst>
      </pc:sldChg>
      <pc:sldChg chg="modSp del">
        <pc:chgData name="Nivedha N A" userId="48795343-f4b0-4368-b9f1-c6e5f3910d48" providerId="ADAL" clId="{3E51CB64-41DE-4E99-AA61-015D66A9A29C}" dt="2025-09-01T10:06:06.400" v="98" actId="2696"/>
        <pc:sldMkLst>
          <pc:docMk/>
          <pc:sldMk cId="1371627831" sldId="262"/>
        </pc:sldMkLst>
      </pc:sldChg>
      <pc:sldChg chg="modSp add mod">
        <pc:chgData name="Nivedha N A" userId="48795343-f4b0-4368-b9f1-c6e5f3910d48" providerId="ADAL" clId="{3E51CB64-41DE-4E99-AA61-015D66A9A29C}" dt="2025-09-05T10:10:34.615" v="4536" actId="1076"/>
        <pc:sldMkLst>
          <pc:docMk/>
          <pc:sldMk cId="1610282302" sldId="267"/>
        </pc:sldMkLst>
        <pc:spChg chg="mod">
          <ac:chgData name="Nivedha N A" userId="48795343-f4b0-4368-b9f1-c6e5f3910d48" providerId="ADAL" clId="{3E51CB64-41DE-4E99-AA61-015D66A9A29C}" dt="2025-09-05T10:10:34.615" v="4536" actId="1076"/>
          <ac:spMkLst>
            <pc:docMk/>
            <pc:sldMk cId="1610282302" sldId="267"/>
            <ac:spMk id="4" creationId="{73B57460-F042-43EF-A022-E1E198052216}"/>
          </ac:spMkLst>
        </pc:spChg>
      </pc:sldChg>
      <pc:sldChg chg="addSp delSp modSp mod">
        <pc:chgData name="Nivedha N A" userId="48795343-f4b0-4368-b9f1-c6e5f3910d48" providerId="ADAL" clId="{3E51CB64-41DE-4E99-AA61-015D66A9A29C}" dt="2025-09-01T14:45:09.509" v="2510" actId="1076"/>
        <pc:sldMkLst>
          <pc:docMk/>
          <pc:sldMk cId="1085679889" sldId="269"/>
        </pc:sldMkLst>
        <pc:spChg chg="mod">
          <ac:chgData name="Nivedha N A" userId="48795343-f4b0-4368-b9f1-c6e5f3910d48" providerId="ADAL" clId="{3E51CB64-41DE-4E99-AA61-015D66A9A29C}" dt="2025-09-01T10:20:53.782" v="285"/>
          <ac:spMkLst>
            <pc:docMk/>
            <pc:sldMk cId="1085679889" sldId="269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0:05:55.536" v="97" actId="20577"/>
          <ac:spMkLst>
            <pc:docMk/>
            <pc:sldMk cId="1085679889" sldId="269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40:08.665" v="2501" actId="20577"/>
          <ac:spMkLst>
            <pc:docMk/>
            <pc:sldMk cId="1085679889" sldId="269"/>
            <ac:spMk id="8" creationId="{B0B1E615-E944-47CD-AC27-55B477280C41}"/>
          </ac:spMkLst>
        </pc:spChg>
        <pc:picChg chg="add mod">
          <ac:chgData name="Nivedha N A" userId="48795343-f4b0-4368-b9f1-c6e5f3910d48" providerId="ADAL" clId="{3E51CB64-41DE-4E99-AA61-015D66A9A29C}" dt="2025-09-01T14:35:23.690" v="2500" actId="1076"/>
          <ac:picMkLst>
            <pc:docMk/>
            <pc:sldMk cId="1085679889" sldId="269"/>
            <ac:picMk id="1029" creationId="{37ACF022-2339-3846-F0AC-06C6069BE90D}"/>
          </ac:picMkLst>
        </pc:picChg>
        <pc:picChg chg="add mod">
          <ac:chgData name="Nivedha N A" userId="48795343-f4b0-4368-b9f1-c6e5f3910d48" providerId="ADAL" clId="{3E51CB64-41DE-4E99-AA61-015D66A9A29C}" dt="2025-09-01T14:45:09.509" v="2510" actId="1076"/>
          <ac:picMkLst>
            <pc:docMk/>
            <pc:sldMk cId="1085679889" sldId="269"/>
            <ac:picMk id="1031" creationId="{7DAEF337-3973-BB7A-4CFA-4721FF02C468}"/>
          </ac:picMkLst>
        </pc:picChg>
      </pc:sldChg>
      <pc:sldChg chg="addSp modSp del mod">
        <pc:chgData name="Nivedha N A" userId="48795343-f4b0-4368-b9f1-c6e5f3910d48" providerId="ADAL" clId="{3E51CB64-41DE-4E99-AA61-015D66A9A29C}" dt="2025-09-02T13:54:41.522" v="3524" actId="2696"/>
        <pc:sldMkLst>
          <pc:docMk/>
          <pc:sldMk cId="4220273849" sldId="270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3907478668" sldId="273"/>
        </pc:sldMkLst>
      </pc:sldChg>
      <pc:sldChg chg="addSp modSp add mod">
        <pc:chgData name="Nivedha N A" userId="48795343-f4b0-4368-b9f1-c6e5f3910d48" providerId="ADAL" clId="{3E51CB64-41DE-4E99-AA61-015D66A9A29C}" dt="2025-09-04T06:59:42.785" v="3750" actId="14100"/>
        <pc:sldMkLst>
          <pc:docMk/>
          <pc:sldMk cId="3999088887" sldId="274"/>
        </pc:sldMkLst>
        <pc:picChg chg="add mod">
          <ac:chgData name="Nivedha N A" userId="48795343-f4b0-4368-b9f1-c6e5f3910d48" providerId="ADAL" clId="{3E51CB64-41DE-4E99-AA61-015D66A9A29C}" dt="2025-09-04T06:59:42.785" v="3750" actId="14100"/>
          <ac:picMkLst>
            <pc:docMk/>
            <pc:sldMk cId="3999088887" sldId="274"/>
            <ac:picMk id="5" creationId="{ACFF2616-0E58-458D-E7C7-083887064B36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5T09:32:39.467" v="4530" actId="1076"/>
        <pc:sldMkLst>
          <pc:docMk/>
          <pc:sldMk cId="3338559003" sldId="275"/>
        </pc:sldMkLst>
        <pc:picChg chg="add mod">
          <ac:chgData name="Nivedha N A" userId="48795343-f4b0-4368-b9f1-c6e5f3910d48" providerId="ADAL" clId="{3E51CB64-41DE-4E99-AA61-015D66A9A29C}" dt="2025-09-05T09:32:39.467" v="4530" actId="1076"/>
          <ac:picMkLst>
            <pc:docMk/>
            <pc:sldMk cId="3338559003" sldId="275"/>
            <ac:picMk id="2052" creationId="{A89858AB-21AB-C425-B9DE-85D211AF3550}"/>
          </ac:picMkLst>
        </pc:picChg>
        <pc:picChg chg="add mod">
          <ac:chgData name="Nivedha N A" userId="48795343-f4b0-4368-b9f1-c6e5f3910d48" providerId="ADAL" clId="{3E51CB64-41DE-4E99-AA61-015D66A9A29C}" dt="2025-09-05T09:32:31.650" v="4528" actId="14100"/>
          <ac:picMkLst>
            <pc:docMk/>
            <pc:sldMk cId="3338559003" sldId="275"/>
            <ac:picMk id="2068" creationId="{6C2B6280-F60D-FF54-75CA-D82D47E7BF36}"/>
          </ac:picMkLst>
        </pc:picChg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605538384" sldId="279"/>
        </pc:sldMkLst>
      </pc:sldChg>
      <pc:sldChg chg="del">
        <pc:chgData name="Nivedha N A" userId="48795343-f4b0-4368-b9f1-c6e5f3910d48" providerId="ADAL" clId="{3E51CB64-41DE-4E99-AA61-015D66A9A29C}" dt="2025-09-02T13:54:23.605" v="3522" actId="2696"/>
        <pc:sldMkLst>
          <pc:docMk/>
          <pc:sldMk cId="2623588317" sldId="280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3095708973" sldId="287"/>
        </pc:sldMkLst>
      </pc:sldChg>
      <pc:sldChg chg="modSp add">
        <pc:chgData name="Nivedha N A" userId="48795343-f4b0-4368-b9f1-c6e5f3910d48" providerId="ADAL" clId="{3E51CB64-41DE-4E99-AA61-015D66A9A29C}" dt="2025-09-02T13:55:44.667" v="3529"/>
        <pc:sldMkLst>
          <pc:docMk/>
          <pc:sldMk cId="3764670247" sldId="288"/>
        </pc:sldMkLst>
        <pc:spChg chg="mod">
          <ac:chgData name="Nivedha N A" userId="48795343-f4b0-4368-b9f1-c6e5f3910d48" providerId="ADAL" clId="{3E51CB64-41DE-4E99-AA61-015D66A9A29C}" dt="2025-09-02T13:55:44.667" v="3529"/>
          <ac:spMkLst>
            <pc:docMk/>
            <pc:sldMk cId="3764670247" sldId="288"/>
            <ac:spMk id="3" creationId="{4C7DAEA0-5F99-491B-88F0-E51AE5A4554F}"/>
          </ac:spMkLst>
        </pc:spChg>
      </pc:sldChg>
      <pc:sldChg chg="del">
        <pc:chgData name="Nivedha N A" userId="48795343-f4b0-4368-b9f1-c6e5f3910d48" providerId="ADAL" clId="{3E51CB64-41DE-4E99-AA61-015D66A9A29C}" dt="2025-09-01T10:06:16.018" v="101" actId="2696"/>
        <pc:sldMkLst>
          <pc:docMk/>
          <pc:sldMk cId="1311371785" sldId="29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767620271" sldId="35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4065022239" sldId="358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639234891" sldId="359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371574227" sldId="369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1662555385" sldId="388"/>
        </pc:sldMkLst>
      </pc:sldChg>
      <pc:sldChg chg="modSp mod">
        <pc:chgData name="Nivedha N A" userId="48795343-f4b0-4368-b9f1-c6e5f3910d48" providerId="ADAL" clId="{3E51CB64-41DE-4E99-AA61-015D66A9A29C}" dt="2025-09-01T09:43:38.309" v="20" actId="20577"/>
        <pc:sldMkLst>
          <pc:docMk/>
          <pc:sldMk cId="2861970163" sldId="389"/>
        </pc:sldMkLst>
        <pc:spChg chg="mod">
          <ac:chgData name="Nivedha N A" userId="48795343-f4b0-4368-b9f1-c6e5f3910d48" providerId="ADAL" clId="{3E51CB64-41DE-4E99-AA61-015D66A9A29C}" dt="2025-09-01T09:43:38.309" v="20" actId="20577"/>
          <ac:spMkLst>
            <pc:docMk/>
            <pc:sldMk cId="2861970163" sldId="389"/>
            <ac:spMk id="6" creationId="{47FAEEF0-36B7-4481-8228-07ECAE5665B2}"/>
          </ac:spMkLst>
        </pc:spChg>
      </pc:sldChg>
      <pc:sldChg chg="del">
        <pc:chgData name="Nivedha N A" userId="48795343-f4b0-4368-b9f1-c6e5f3910d48" providerId="ADAL" clId="{3E51CB64-41DE-4E99-AA61-015D66A9A29C}" dt="2025-09-01T09:45:05.308" v="23" actId="2696"/>
        <pc:sldMkLst>
          <pc:docMk/>
          <pc:sldMk cId="3631032012" sldId="390"/>
        </pc:sldMkLst>
      </pc:sldChg>
      <pc:sldChg chg="del">
        <pc:chgData name="Nivedha N A" userId="48795343-f4b0-4368-b9f1-c6e5f3910d48" providerId="ADAL" clId="{3E51CB64-41DE-4E99-AA61-015D66A9A29C}" dt="2025-09-01T09:45:08.564" v="24" actId="2696"/>
        <pc:sldMkLst>
          <pc:docMk/>
          <pc:sldMk cId="1221361603" sldId="391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854860422" sldId="392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428717061" sldId="393"/>
        </pc:sldMkLst>
      </pc:sldChg>
      <pc:sldChg chg="modSp add del">
        <pc:chgData name="Nivedha N A" userId="48795343-f4b0-4368-b9f1-c6e5f3910d48" providerId="ADAL" clId="{3E51CB64-41DE-4E99-AA61-015D66A9A29C}" dt="2025-09-02T13:55:00.799" v="3527" actId="2696"/>
        <pc:sldMkLst>
          <pc:docMk/>
          <pc:sldMk cId="4035000069" sldId="394"/>
        </pc:sldMkLst>
      </pc:sldChg>
      <pc:sldChg chg="addSp delSp modSp add del mod">
        <pc:chgData name="Nivedha N A" userId="48795343-f4b0-4368-b9f1-c6e5f3910d48" providerId="ADAL" clId="{3E51CB64-41DE-4E99-AA61-015D66A9A29C}" dt="2025-09-02T05:18:37.816" v="3337" actId="2696"/>
        <pc:sldMkLst>
          <pc:docMk/>
          <pc:sldMk cId="1826746480" sldId="536"/>
        </pc:sldMkLst>
      </pc:sldChg>
      <pc:sldChg chg="addSp delSp modSp add del mod">
        <pc:chgData name="Nivedha N A" userId="48795343-f4b0-4368-b9f1-c6e5f3910d48" providerId="ADAL" clId="{3E51CB64-41DE-4E99-AA61-015D66A9A29C}" dt="2025-09-02T08:50:18.581" v="3447" actId="2696"/>
        <pc:sldMkLst>
          <pc:docMk/>
          <pc:sldMk cId="67126905" sldId="551"/>
        </pc:sldMkLst>
      </pc:sldChg>
      <pc:sldChg chg="addSp modSp add del mod">
        <pc:chgData name="Nivedha N A" userId="48795343-f4b0-4368-b9f1-c6e5f3910d48" providerId="ADAL" clId="{3E51CB64-41DE-4E99-AA61-015D66A9A29C}" dt="2025-09-02T13:54:55.730" v="3525" actId="2696"/>
        <pc:sldMkLst>
          <pc:docMk/>
          <pc:sldMk cId="244715785" sldId="555"/>
        </pc:sldMkLst>
      </pc:sldChg>
      <pc:sldChg chg="addSp delSp modSp add del mod">
        <pc:chgData name="Nivedha N A" userId="48795343-f4b0-4368-b9f1-c6e5f3910d48" providerId="ADAL" clId="{3E51CB64-41DE-4E99-AA61-015D66A9A29C}" dt="2025-09-07T06:07:28.408" v="6444" actId="2696"/>
        <pc:sldMkLst>
          <pc:docMk/>
          <pc:sldMk cId="1168618435" sldId="556"/>
        </pc:sldMkLst>
      </pc:sldChg>
      <pc:sldChg chg="modSp add del mod">
        <pc:chgData name="Nivedha N A" userId="48795343-f4b0-4368-b9f1-c6e5f3910d48" providerId="ADAL" clId="{3E51CB64-41DE-4E99-AA61-015D66A9A29C}" dt="2025-09-01T12:04:29.513" v="714" actId="2696"/>
        <pc:sldMkLst>
          <pc:docMk/>
          <pc:sldMk cId="1455720448" sldId="556"/>
        </pc:sldMkLst>
      </pc:sldChg>
      <pc:sldChg chg="addSp delSp modSp add mod">
        <pc:chgData name="Nivedha N A" userId="48795343-f4b0-4368-b9f1-c6e5f3910d48" providerId="ADAL" clId="{3E51CB64-41DE-4E99-AA61-015D66A9A29C}" dt="2025-09-02T08:52:15.438" v="3474" actId="20577"/>
        <pc:sldMkLst>
          <pc:docMk/>
          <pc:sldMk cId="1508089594" sldId="557"/>
        </pc:sldMkLst>
        <pc:spChg chg="mod">
          <ac:chgData name="Nivedha N A" userId="48795343-f4b0-4368-b9f1-c6e5f3910d48" providerId="ADAL" clId="{3E51CB64-41DE-4E99-AA61-015D66A9A29C}" dt="2025-09-01T13:35:50.210" v="2428"/>
          <ac:spMkLst>
            <pc:docMk/>
            <pc:sldMk cId="1508089594" sldId="557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2:04:38.197" v="715"/>
          <ac:spMkLst>
            <pc:docMk/>
            <pc:sldMk cId="1508089594" sldId="557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54:34.110" v="2594" actId="1076"/>
          <ac:spMkLst>
            <pc:docMk/>
            <pc:sldMk cId="1508089594" sldId="557"/>
            <ac:spMk id="6" creationId="{FA00883F-F124-4187-9967-B03237F827EF}"/>
          </ac:spMkLst>
        </pc:spChg>
        <pc:spChg chg="mod">
          <ac:chgData name="Nivedha N A" userId="48795343-f4b0-4368-b9f1-c6e5f3910d48" providerId="ADAL" clId="{3E51CB64-41DE-4E99-AA61-015D66A9A29C}" dt="2025-09-02T08:52:15.438" v="3474" actId="20577"/>
          <ac:spMkLst>
            <pc:docMk/>
            <pc:sldMk cId="1508089594" sldId="557"/>
            <ac:spMk id="8" creationId="{B0B1E615-E944-47CD-AC27-55B477280C41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09:24:43.110" v="7714" actId="20577"/>
        <pc:sldMkLst>
          <pc:docMk/>
          <pc:sldMk cId="2341847114" sldId="558"/>
        </pc:sldMkLst>
        <pc:spChg chg="mod">
          <ac:chgData name="Nivedha N A" userId="48795343-f4b0-4368-b9f1-c6e5f3910d48" providerId="ADAL" clId="{3E51CB64-41DE-4E99-AA61-015D66A9A29C}" dt="2025-09-01T13:36:15.674" v="2431"/>
          <ac:spMkLst>
            <pc:docMk/>
            <pc:sldMk cId="2341847114" sldId="558"/>
            <ac:spMk id="3" creationId="{6D4219D5-4ACA-2500-793E-9221D47D0A3C}"/>
          </ac:spMkLst>
        </pc:spChg>
        <pc:spChg chg="mod">
          <ac:chgData name="Nivedha N A" userId="48795343-f4b0-4368-b9f1-c6e5f3910d48" providerId="ADAL" clId="{3E51CB64-41DE-4E99-AA61-015D66A9A29C}" dt="2025-09-08T09:24:43.110" v="7714" actId="20577"/>
          <ac:spMkLst>
            <pc:docMk/>
            <pc:sldMk cId="2341847114" sldId="558"/>
            <ac:spMk id="5" creationId="{2435C8A0-E6F4-F5C0-582C-98AF3DA999D7}"/>
          </ac:spMkLst>
        </pc:spChg>
        <pc:spChg chg="mod">
          <ac:chgData name="Nivedha N A" userId="48795343-f4b0-4368-b9f1-c6e5f3910d48" providerId="ADAL" clId="{3E51CB64-41DE-4E99-AA61-015D66A9A29C}" dt="2025-09-02T03:39:29.862" v="3043" actId="1076"/>
          <ac:spMkLst>
            <pc:docMk/>
            <pc:sldMk cId="2341847114" sldId="558"/>
            <ac:spMk id="6" creationId="{36033B35-304A-9B55-69C9-6BBBAD88EC2A}"/>
          </ac:spMkLst>
        </pc:spChg>
        <pc:spChg chg="mod">
          <ac:chgData name="Nivedha N A" userId="48795343-f4b0-4368-b9f1-c6e5f3910d48" providerId="ADAL" clId="{3E51CB64-41DE-4E99-AA61-015D66A9A29C}" dt="2025-09-02T03:39:24.942" v="3042" actId="1076"/>
          <ac:spMkLst>
            <pc:docMk/>
            <pc:sldMk cId="2341847114" sldId="558"/>
            <ac:spMk id="8" creationId="{7307832E-BE7E-D60F-ACC3-93B208E86D35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09:24:28.600" v="7692" actId="20577"/>
        <pc:sldMkLst>
          <pc:docMk/>
          <pc:sldMk cId="392851940" sldId="559"/>
        </pc:sldMkLst>
        <pc:spChg chg="mod">
          <ac:chgData name="Nivedha N A" userId="48795343-f4b0-4368-b9f1-c6e5f3910d48" providerId="ADAL" clId="{3E51CB64-41DE-4E99-AA61-015D66A9A29C}" dt="2025-09-01T13:36:20.491" v="2432"/>
          <ac:spMkLst>
            <pc:docMk/>
            <pc:sldMk cId="392851940" sldId="559"/>
            <ac:spMk id="3" creationId="{CBF92B60-CE3F-A351-3E5E-24D5AE40CE50}"/>
          </ac:spMkLst>
        </pc:spChg>
        <pc:spChg chg="mod">
          <ac:chgData name="Nivedha N A" userId="48795343-f4b0-4368-b9f1-c6e5f3910d48" providerId="ADAL" clId="{3E51CB64-41DE-4E99-AA61-015D66A9A29C}" dt="2025-09-08T09:24:28.600" v="7692" actId="20577"/>
          <ac:spMkLst>
            <pc:docMk/>
            <pc:sldMk cId="392851940" sldId="559"/>
            <ac:spMk id="5" creationId="{EAA3D0CD-535E-5264-6D68-BAE46AB023D8}"/>
          </ac:spMkLst>
        </pc:spChg>
        <pc:spChg chg="mod">
          <ac:chgData name="Nivedha N A" userId="48795343-f4b0-4368-b9f1-c6e5f3910d48" providerId="ADAL" clId="{3E51CB64-41DE-4E99-AA61-015D66A9A29C}" dt="2025-09-02T05:18:25.446" v="3336" actId="1076"/>
          <ac:spMkLst>
            <pc:docMk/>
            <pc:sldMk cId="392851940" sldId="559"/>
            <ac:spMk id="6" creationId="{2BB6C697-FDFC-1F41-6DBF-152C952B6A9D}"/>
          </ac:spMkLst>
        </pc:spChg>
        <pc:spChg chg="mod">
          <ac:chgData name="Nivedha N A" userId="48795343-f4b0-4368-b9f1-c6e5f3910d48" providerId="ADAL" clId="{3E51CB64-41DE-4E99-AA61-015D66A9A29C}" dt="2025-09-02T13:37:52.944" v="3518"/>
          <ac:spMkLst>
            <pc:docMk/>
            <pc:sldMk cId="392851940" sldId="559"/>
            <ac:spMk id="8" creationId="{53C22927-4502-A519-B613-E1AAB035F2F4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1T16:25:26.503" v="2764" actId="1076"/>
        <pc:sldMkLst>
          <pc:docMk/>
          <pc:sldMk cId="2005893529" sldId="560"/>
        </pc:sldMkLst>
        <pc:spChg chg="mod">
          <ac:chgData name="Nivedha N A" userId="48795343-f4b0-4368-b9f1-c6e5f3910d48" providerId="ADAL" clId="{3E51CB64-41DE-4E99-AA61-015D66A9A29C}" dt="2025-09-01T13:36:30.419" v="2433"/>
          <ac:spMkLst>
            <pc:docMk/>
            <pc:sldMk cId="2005893529" sldId="560"/>
            <ac:spMk id="3" creationId="{5D6D13F7-B0DD-0A3F-9A83-A40E1662CF5F}"/>
          </ac:spMkLst>
        </pc:spChg>
        <pc:spChg chg="mod">
          <ac:chgData name="Nivedha N A" userId="48795343-f4b0-4368-b9f1-c6e5f3910d48" providerId="ADAL" clId="{3E51CB64-41DE-4E99-AA61-015D66A9A29C}" dt="2025-09-01T12:13:27.466" v="1014"/>
          <ac:spMkLst>
            <pc:docMk/>
            <pc:sldMk cId="2005893529" sldId="560"/>
            <ac:spMk id="5" creationId="{24EFFEAC-43FB-2C0B-F818-92F0BB61A19D}"/>
          </ac:spMkLst>
        </pc:spChg>
        <pc:spChg chg="mod">
          <ac:chgData name="Nivedha N A" userId="48795343-f4b0-4368-b9f1-c6e5f3910d48" providerId="ADAL" clId="{3E51CB64-41DE-4E99-AA61-015D66A9A29C}" dt="2025-09-01T16:01:49.735" v="2712" actId="20577"/>
          <ac:spMkLst>
            <pc:docMk/>
            <pc:sldMk cId="2005893529" sldId="560"/>
            <ac:spMk id="6" creationId="{C94AAAD1-85D6-7983-840F-59E00D4747C2}"/>
          </ac:spMkLst>
        </pc:spChg>
        <pc:spChg chg="mod">
          <ac:chgData name="Nivedha N A" userId="48795343-f4b0-4368-b9f1-c6e5f3910d48" providerId="ADAL" clId="{3E51CB64-41DE-4E99-AA61-015D66A9A29C}" dt="2025-09-01T16:16:16.207" v="2749" actId="14100"/>
          <ac:spMkLst>
            <pc:docMk/>
            <pc:sldMk cId="2005893529" sldId="560"/>
            <ac:spMk id="8" creationId="{357C7668-AA72-FDED-2FE3-6AFB8C54CB85}"/>
          </ac:spMkLst>
        </pc:spChg>
        <pc:spChg chg="add mod">
          <ac:chgData name="Nivedha N A" userId="48795343-f4b0-4368-b9f1-c6e5f3910d48" providerId="ADAL" clId="{3E51CB64-41DE-4E99-AA61-015D66A9A29C}" dt="2025-09-01T16:25:26.503" v="2764" actId="1076"/>
          <ac:spMkLst>
            <pc:docMk/>
            <pc:sldMk cId="2005893529" sldId="560"/>
            <ac:spMk id="14" creationId="{A50D75F6-A1F9-C5D2-EB66-32E633374B68}"/>
          </ac:spMkLst>
        </pc:spChg>
        <pc:spChg chg="add mod">
          <ac:chgData name="Nivedha N A" userId="48795343-f4b0-4368-b9f1-c6e5f3910d48" providerId="ADAL" clId="{3E51CB64-41DE-4E99-AA61-015D66A9A29C}" dt="2025-09-01T16:17:05.613" v="2753" actId="20577"/>
          <ac:spMkLst>
            <pc:docMk/>
            <pc:sldMk cId="2005893529" sldId="560"/>
            <ac:spMk id="17" creationId="{B5D6CACE-FEA3-F33D-6AA1-E99F1BCC5EF1}"/>
          </ac:spMkLst>
        </pc:spChg>
        <pc:picChg chg="add mod">
          <ac:chgData name="Nivedha N A" userId="48795343-f4b0-4368-b9f1-c6e5f3910d48" providerId="ADAL" clId="{3E51CB64-41DE-4E99-AA61-015D66A9A29C}" dt="2025-09-01T16:01:21.190" v="2708" actId="1076"/>
          <ac:picMkLst>
            <pc:docMk/>
            <pc:sldMk cId="2005893529" sldId="560"/>
            <ac:picMk id="3080" creationId="{34019E49-C474-8F33-21E5-85DE57290507}"/>
          </ac:picMkLst>
        </pc:picChg>
        <pc:picChg chg="add mod">
          <ac:chgData name="Nivedha N A" userId="48795343-f4b0-4368-b9f1-c6e5f3910d48" providerId="ADAL" clId="{3E51CB64-41DE-4E99-AA61-015D66A9A29C}" dt="2025-09-01T15:59:20.050" v="2700" actId="14100"/>
          <ac:picMkLst>
            <pc:docMk/>
            <pc:sldMk cId="2005893529" sldId="560"/>
            <ac:picMk id="3086" creationId="{A7CA63AD-1EE1-4376-678B-98470C54D9FB}"/>
          </ac:picMkLst>
        </pc:picChg>
        <pc:picChg chg="add mod">
          <ac:chgData name="Nivedha N A" userId="48795343-f4b0-4368-b9f1-c6e5f3910d48" providerId="ADAL" clId="{3E51CB64-41DE-4E99-AA61-015D66A9A29C}" dt="2025-09-01T16:01:29.867" v="2709" actId="14100"/>
          <ac:picMkLst>
            <pc:docMk/>
            <pc:sldMk cId="2005893529" sldId="560"/>
            <ac:picMk id="3088" creationId="{7C0F1331-D379-4DB9-63D0-BD7F7B5D9988}"/>
          </ac:picMkLst>
        </pc:picChg>
        <pc:picChg chg="add mod">
          <ac:chgData name="Nivedha N A" userId="48795343-f4b0-4368-b9f1-c6e5f3910d48" providerId="ADAL" clId="{3E51CB64-41DE-4E99-AA61-015D66A9A29C}" dt="2025-09-01T16:23:43.783" v="2763" actId="14100"/>
          <ac:picMkLst>
            <pc:docMk/>
            <pc:sldMk cId="2005893529" sldId="560"/>
            <ac:picMk id="3092" creationId="{3CF74EAC-7769-1942-2489-4E4064CE53DF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1T16:13:49.809" v="2722"/>
        <pc:sldMkLst>
          <pc:docMk/>
          <pc:sldMk cId="936466097" sldId="561"/>
        </pc:sldMkLst>
        <pc:spChg chg="mod">
          <ac:chgData name="Nivedha N A" userId="48795343-f4b0-4368-b9f1-c6e5f3910d48" providerId="ADAL" clId="{3E51CB64-41DE-4E99-AA61-015D66A9A29C}" dt="2025-09-01T13:36:37.843" v="2434"/>
          <ac:spMkLst>
            <pc:docMk/>
            <pc:sldMk cId="936466097" sldId="561"/>
            <ac:spMk id="3" creationId="{6739A735-BC7F-BC4E-D84F-5C5114189CEA}"/>
          </ac:spMkLst>
        </pc:spChg>
        <pc:spChg chg="mod">
          <ac:chgData name="Nivedha N A" userId="48795343-f4b0-4368-b9f1-c6e5f3910d48" providerId="ADAL" clId="{3E51CB64-41DE-4E99-AA61-015D66A9A29C}" dt="2025-09-01T12:23:51.563" v="1552" actId="20577"/>
          <ac:spMkLst>
            <pc:docMk/>
            <pc:sldMk cId="936466097" sldId="561"/>
            <ac:spMk id="15" creationId="{F89C7623-D0ED-6B8B-9C1D-39F4E36E8A6C}"/>
          </ac:spMkLst>
        </pc:spChg>
        <pc:spChg chg="add mod">
          <ac:chgData name="Nivedha N A" userId="48795343-f4b0-4368-b9f1-c6e5f3910d48" providerId="ADAL" clId="{3E51CB64-41DE-4E99-AA61-015D66A9A29C}" dt="2025-09-01T16:13:27.013" v="2721"/>
          <ac:spMkLst>
            <pc:docMk/>
            <pc:sldMk cId="936466097" sldId="561"/>
            <ac:spMk id="18" creationId="{1EF0E18C-3BE3-52FD-D83E-C6F182C5FDFA}"/>
          </ac:spMkLst>
        </pc:spChg>
        <pc:spChg chg="add mod">
          <ac:chgData name="Nivedha N A" userId="48795343-f4b0-4368-b9f1-c6e5f3910d48" providerId="ADAL" clId="{3E51CB64-41DE-4E99-AA61-015D66A9A29C}" dt="2025-09-01T16:13:49.809" v="2722"/>
          <ac:spMkLst>
            <pc:docMk/>
            <pc:sldMk cId="936466097" sldId="561"/>
            <ac:spMk id="19" creationId="{1A30D743-B4A6-D96B-54C2-7B7CC11E23FC}"/>
          </ac:spMkLst>
        </pc:spChg>
        <pc:picChg chg="add mod">
          <ac:chgData name="Nivedha N A" userId="48795343-f4b0-4368-b9f1-c6e5f3910d48" providerId="ADAL" clId="{3E51CB64-41DE-4E99-AA61-015D66A9A29C}" dt="2025-09-01T16:12:57.478" v="2719" actId="14100"/>
          <ac:picMkLst>
            <pc:docMk/>
            <pc:sldMk cId="936466097" sldId="561"/>
            <ac:picMk id="13" creationId="{003124DD-6AA0-532B-9CC7-4F7A0EA76337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1T12:35:38.564" v="1761" actId="2696"/>
        <pc:sldMkLst>
          <pc:docMk/>
          <pc:sldMk cId="782349031" sldId="562"/>
        </pc:sldMkLst>
      </pc:sldChg>
      <pc:sldChg chg="addSp delSp modSp add mod ord">
        <pc:chgData name="Nivedha N A" userId="48795343-f4b0-4368-b9f1-c6e5f3910d48" providerId="ADAL" clId="{3E51CB64-41DE-4E99-AA61-015D66A9A29C}" dt="2025-09-06T12:04:29.460" v="5709"/>
        <pc:sldMkLst>
          <pc:docMk/>
          <pc:sldMk cId="1261867268" sldId="562"/>
        </pc:sldMkLst>
        <pc:spChg chg="mod">
          <ac:chgData name="Nivedha N A" userId="48795343-f4b0-4368-b9f1-c6e5f3910d48" providerId="ADAL" clId="{3E51CB64-41DE-4E99-AA61-015D66A9A29C}" dt="2025-09-01T12:51:17.897" v="2268" actId="20577"/>
          <ac:spMkLst>
            <pc:docMk/>
            <pc:sldMk cId="1261867268" sldId="562"/>
            <ac:spMk id="2" creationId="{30B707F3-6196-EB39-B9ED-1D3524A0D68E}"/>
          </ac:spMkLst>
        </pc:spChg>
        <pc:spChg chg="mod">
          <ac:chgData name="Nivedha N A" userId="48795343-f4b0-4368-b9f1-c6e5f3910d48" providerId="ADAL" clId="{3E51CB64-41DE-4E99-AA61-015D66A9A29C}" dt="2025-09-01T13:36:58.489" v="2438"/>
          <ac:spMkLst>
            <pc:docMk/>
            <pc:sldMk cId="1261867268" sldId="562"/>
            <ac:spMk id="3" creationId="{C43A7C92-91F2-5AE5-B96D-8AE32B7AFB40}"/>
          </ac:spMkLst>
        </pc:spChg>
        <pc:spChg chg="add del mod">
          <ac:chgData name="Nivedha N A" userId="48795343-f4b0-4368-b9f1-c6e5f3910d48" providerId="ADAL" clId="{3E51CB64-41DE-4E99-AA61-015D66A9A29C}" dt="2025-09-02T03:16:50.463" v="2938" actId="1076"/>
          <ac:spMkLst>
            <pc:docMk/>
            <pc:sldMk cId="1261867268" sldId="562"/>
            <ac:spMk id="6" creationId="{8AAD3E2C-A803-6A46-085E-BE34B5687CBD}"/>
          </ac:spMkLst>
        </pc:spChg>
        <pc:spChg chg="add mod">
          <ac:chgData name="Nivedha N A" userId="48795343-f4b0-4368-b9f1-c6e5f3910d48" providerId="ADAL" clId="{3E51CB64-41DE-4E99-AA61-015D66A9A29C}" dt="2025-09-01T13:30:00.572" v="2368" actId="14100"/>
          <ac:spMkLst>
            <pc:docMk/>
            <pc:sldMk cId="1261867268" sldId="562"/>
            <ac:spMk id="10" creationId="{8C459260-035B-99C1-88F0-CE844B7C1C85}"/>
          </ac:spMkLst>
        </pc:spChg>
      </pc:sldChg>
      <pc:sldChg chg="new del">
        <pc:chgData name="Nivedha N A" userId="48795343-f4b0-4368-b9f1-c6e5f3910d48" providerId="ADAL" clId="{3E51CB64-41DE-4E99-AA61-015D66A9A29C}" dt="2025-09-02T13:54:58.366" v="3526" actId="2696"/>
        <pc:sldMkLst>
          <pc:docMk/>
          <pc:sldMk cId="466951201" sldId="563"/>
        </pc:sldMkLst>
      </pc:sldChg>
      <pc:sldChg chg="addSp delSp modSp add mod">
        <pc:chgData name="Nivedha N A" userId="48795343-f4b0-4368-b9f1-c6e5f3910d48" providerId="ADAL" clId="{3E51CB64-41DE-4E99-AA61-015D66A9A29C}" dt="2025-09-02T03:29:18.768" v="3003" actId="20577"/>
        <pc:sldMkLst>
          <pc:docMk/>
          <pc:sldMk cId="3649489225" sldId="564"/>
        </pc:sldMkLst>
        <pc:spChg chg="mod">
          <ac:chgData name="Nivedha N A" userId="48795343-f4b0-4368-b9f1-c6e5f3910d48" providerId="ADAL" clId="{3E51CB64-41DE-4E99-AA61-015D66A9A29C}" dt="2025-09-01T13:31:50.586" v="2374"/>
          <ac:spMkLst>
            <pc:docMk/>
            <pc:sldMk cId="3649489225" sldId="564"/>
            <ac:spMk id="2" creationId="{9F6D37B4-AF0E-46F6-FCE2-48C37E0C6FE1}"/>
          </ac:spMkLst>
        </pc:spChg>
        <pc:spChg chg="mod">
          <ac:chgData name="Nivedha N A" userId="48795343-f4b0-4368-b9f1-c6e5f3910d48" providerId="ADAL" clId="{3E51CB64-41DE-4E99-AA61-015D66A9A29C}" dt="2025-09-01T13:38:44.385" v="2451"/>
          <ac:spMkLst>
            <pc:docMk/>
            <pc:sldMk cId="3649489225" sldId="564"/>
            <ac:spMk id="3" creationId="{E7162FED-278D-D633-F102-0CF26F04F46F}"/>
          </ac:spMkLst>
        </pc:spChg>
        <pc:spChg chg="mod">
          <ac:chgData name="Nivedha N A" userId="48795343-f4b0-4368-b9f1-c6e5f3910d48" providerId="ADAL" clId="{3E51CB64-41DE-4E99-AA61-015D66A9A29C}" dt="2025-09-02T03:29:18.768" v="3003" actId="20577"/>
          <ac:spMkLst>
            <pc:docMk/>
            <pc:sldMk cId="3649489225" sldId="564"/>
            <ac:spMk id="6" creationId="{1B4D34F3-526F-CE6C-6351-F4D230C09F4E}"/>
          </ac:spMkLst>
        </pc:spChg>
      </pc:sldChg>
      <pc:sldChg chg="addSp delSp modSp add del mod modClrScheme chgLayout">
        <pc:chgData name="Nivedha N A" userId="48795343-f4b0-4368-b9f1-c6e5f3910d48" providerId="ADAL" clId="{3E51CB64-41DE-4E99-AA61-015D66A9A29C}" dt="2025-09-06T12:05:07.307" v="5718" actId="2696"/>
        <pc:sldMkLst>
          <pc:docMk/>
          <pc:sldMk cId="4230274081" sldId="565"/>
        </pc:sldMkLst>
      </pc:sldChg>
      <pc:sldChg chg="addSp delSp modSp add mod modClrScheme chgLayout">
        <pc:chgData name="Nivedha N A" userId="48795343-f4b0-4368-b9f1-c6e5f3910d48" providerId="ADAL" clId="{3E51CB64-41DE-4E99-AA61-015D66A9A29C}" dt="2025-09-02T12:19:33.010" v="3481" actId="14100"/>
        <pc:sldMkLst>
          <pc:docMk/>
          <pc:sldMk cId="1746813339" sldId="566"/>
        </pc:sldMkLst>
        <pc:spChg chg="mod or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2" creationId="{40AD5F32-B918-473A-D1D2-584FBE2FC3C5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3" creationId="{04FBF6E3-0EA4-553F-7B52-56AC215FB13E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4" creationId="{BA64A9BC-0E30-4764-9E37-13BE9046AF59}"/>
          </ac:spMkLst>
        </pc:spChg>
        <pc:picChg chg="add mod">
          <ac:chgData name="Nivedha N A" userId="48795343-f4b0-4368-b9f1-c6e5f3910d48" providerId="ADAL" clId="{3E51CB64-41DE-4E99-AA61-015D66A9A29C}" dt="2025-09-02T12:19:33.010" v="3481" actId="14100"/>
          <ac:picMkLst>
            <pc:docMk/>
            <pc:sldMk cId="1746813339" sldId="566"/>
            <ac:picMk id="6" creationId="{00D784FB-97BB-0C31-F6B3-780689449BD1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04:37.515" v="5711"/>
        <pc:sldMkLst>
          <pc:docMk/>
          <pc:sldMk cId="1825012440" sldId="567"/>
        </pc:sldMkLst>
        <pc:spChg chg="mod or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2" creationId="{3462E56D-F9B5-BC04-C764-2814FAB38C9A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3" creationId="{4FC2060A-D8F3-DEEF-1CEF-E5AFD55A8C80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4" creationId="{7CAD7A2D-F2CF-15DD-2D79-254CD41AC335}"/>
          </ac:spMkLst>
        </pc:spChg>
        <pc:spChg chg="ord">
          <ac:chgData name="Nivedha N A" userId="48795343-f4b0-4368-b9f1-c6e5f3910d48" providerId="ADAL" clId="{3E51CB64-41DE-4E99-AA61-015D66A9A29C}" dt="2025-09-02T03:09:52.102" v="2784" actId="26606"/>
          <ac:spMkLst>
            <pc:docMk/>
            <pc:sldMk cId="1825012440" sldId="567"/>
            <ac:spMk id="10" creationId="{E4D8E35A-1236-FD4F-D369-3A23C73AFCC0}"/>
          </ac:spMkLst>
        </pc:spChg>
        <pc:picChg chg="mod">
          <ac:chgData name="Nivedha N A" userId="48795343-f4b0-4368-b9f1-c6e5f3910d48" providerId="ADAL" clId="{3E51CB64-41DE-4E99-AA61-015D66A9A29C}" dt="2025-09-02T03:16:25.832" v="2934" actId="14100"/>
          <ac:picMkLst>
            <pc:docMk/>
            <pc:sldMk cId="1825012440" sldId="567"/>
            <ac:picMk id="5124" creationId="{11BEAD29-AB20-6767-8719-8300FF2AAF0E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04:44.607" v="5713"/>
        <pc:sldMkLst>
          <pc:docMk/>
          <pc:sldMk cId="2693548094" sldId="568"/>
        </pc:sldMkLst>
        <pc:spChg chg="mod or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2" creationId="{3FC4C995-2DFB-9BCC-4077-9283C3361552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3" creationId="{B1228013-0A37-948E-7AE2-A2F6B90D8C2A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4" creationId="{FF42A8FF-A1E8-9891-E9CB-4EB573704392}"/>
          </ac:spMkLst>
        </pc:spChg>
        <pc:spChg chg="ord">
          <ac:chgData name="Nivedha N A" userId="48795343-f4b0-4368-b9f1-c6e5f3910d48" providerId="ADAL" clId="{3E51CB64-41DE-4E99-AA61-015D66A9A29C}" dt="2025-09-02T03:10:58.225" v="2798" actId="26606"/>
          <ac:spMkLst>
            <pc:docMk/>
            <pc:sldMk cId="2693548094" sldId="568"/>
            <ac:spMk id="10" creationId="{27FBF77E-5846-F176-4BA6-B65CB1491C54}"/>
          </ac:spMkLst>
        </pc:spChg>
        <pc:picChg chg="add mod">
          <ac:chgData name="Nivedha N A" userId="48795343-f4b0-4368-b9f1-c6e5f3910d48" providerId="ADAL" clId="{3E51CB64-41DE-4E99-AA61-015D66A9A29C}" dt="2025-09-02T03:15:52.917" v="2929" actId="14100"/>
          <ac:picMkLst>
            <pc:docMk/>
            <pc:sldMk cId="2693548094" sldId="568"/>
            <ac:picMk id="5" creationId="{C4C14E67-24B5-B477-A0DF-8B9C701C4CEE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04:47.278" v="5715"/>
        <pc:sldMkLst>
          <pc:docMk/>
          <pc:sldMk cId="761109382" sldId="569"/>
        </pc:sldMkLst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2" creationId="{694E2919-8009-7F1B-7FF4-87A6DF906D49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3" creationId="{1ECEB577-A7B4-CDB4-6BE3-6C1E825074D3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4" creationId="{FC7AE0B1-756D-099E-9E75-DECB376869CF}"/>
          </ac:spMkLst>
        </pc:spChg>
        <pc:spChg chg="or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10" creationId="{7A0207C6-8055-4C02-3546-F425009E4E0C}"/>
          </ac:spMkLst>
        </pc:spChg>
        <pc:picChg chg="add mod">
          <ac:chgData name="Nivedha N A" userId="48795343-f4b0-4368-b9f1-c6e5f3910d48" providerId="ADAL" clId="{3E51CB64-41DE-4E99-AA61-015D66A9A29C}" dt="2025-09-02T03:16:03.771" v="2930" actId="14100"/>
          <ac:picMkLst>
            <pc:docMk/>
            <pc:sldMk cId="761109382" sldId="569"/>
            <ac:picMk id="8" creationId="{28E8C03E-7778-48C5-C74B-7F11761FBE71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3:25:52.040" v="2952" actId="14100"/>
        <pc:sldMkLst>
          <pc:docMk/>
          <pc:sldMk cId="3145107186" sldId="570"/>
        </pc:sldMkLst>
        <pc:picChg chg="add mod">
          <ac:chgData name="Nivedha N A" userId="48795343-f4b0-4368-b9f1-c6e5f3910d48" providerId="ADAL" clId="{3E51CB64-41DE-4E99-AA61-015D66A9A29C}" dt="2025-09-02T03:25:52.040" v="2952" actId="14100"/>
          <ac:picMkLst>
            <pc:docMk/>
            <pc:sldMk cId="3145107186" sldId="570"/>
            <ac:picMk id="10242" creationId="{5532B730-7423-4FF8-117C-7FAFEFC0463D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2T04:32:53.031" v="3126" actId="2696"/>
        <pc:sldMkLst>
          <pc:docMk/>
          <pc:sldMk cId="3906127166" sldId="571"/>
        </pc:sldMkLst>
      </pc:sldChg>
      <pc:sldChg chg="addSp delSp modSp add del mod">
        <pc:chgData name="Nivedha N A" userId="48795343-f4b0-4368-b9f1-c6e5f3910d48" providerId="ADAL" clId="{3E51CB64-41DE-4E99-AA61-015D66A9A29C}" dt="2025-09-02T04:32:06.174" v="3103" actId="2696"/>
        <pc:sldMkLst>
          <pc:docMk/>
          <pc:sldMk cId="1160093553" sldId="572"/>
        </pc:sldMkLst>
      </pc:sldChg>
      <pc:sldChg chg="addSp delSp modSp add del mod ord">
        <pc:chgData name="Nivedha N A" userId="48795343-f4b0-4368-b9f1-c6e5f3910d48" providerId="ADAL" clId="{3E51CB64-41DE-4E99-AA61-015D66A9A29C}" dt="2025-09-02T05:18:47.984" v="3338" actId="2696"/>
        <pc:sldMkLst>
          <pc:docMk/>
          <pc:sldMk cId="1651995148" sldId="573"/>
        </pc:sldMkLst>
      </pc:sldChg>
      <pc:sldChg chg="addSp delSp modSp add del mod ord">
        <pc:chgData name="Nivedha N A" userId="48795343-f4b0-4368-b9f1-c6e5f3910d48" providerId="ADAL" clId="{3E51CB64-41DE-4E99-AA61-015D66A9A29C}" dt="2025-09-06T10:28:58.973" v="5202" actId="2696"/>
        <pc:sldMkLst>
          <pc:docMk/>
          <pc:sldMk cId="2259301310" sldId="574"/>
        </pc:sldMkLst>
      </pc:sldChg>
      <pc:sldChg chg="addSp delSp modSp add mod">
        <pc:chgData name="Nivedha N A" userId="48795343-f4b0-4368-b9f1-c6e5f3910d48" providerId="ADAL" clId="{3E51CB64-41DE-4E99-AA61-015D66A9A29C}" dt="2025-09-08T09:25:43.245" v="7837" actId="20577"/>
        <pc:sldMkLst>
          <pc:docMk/>
          <pc:sldMk cId="874496626" sldId="575"/>
        </pc:sldMkLst>
        <pc:spChg chg="mod">
          <ac:chgData name="Nivedha N A" userId="48795343-f4b0-4368-b9f1-c6e5f3910d48" providerId="ADAL" clId="{3E51CB64-41DE-4E99-AA61-015D66A9A29C}" dt="2025-09-06T09:40:08.136" v="4797" actId="20577"/>
          <ac:spMkLst>
            <pc:docMk/>
            <pc:sldMk cId="874496626" sldId="575"/>
            <ac:spMk id="2" creationId="{AD9F0902-B9E8-896B-324C-BE222D374437}"/>
          </ac:spMkLst>
        </pc:spChg>
        <pc:spChg chg="ord">
          <ac:chgData name="Nivedha N A" userId="48795343-f4b0-4368-b9f1-c6e5f3910d48" providerId="ADAL" clId="{3E51CB64-41DE-4E99-AA61-015D66A9A29C}" dt="2025-09-02T08:51:57.412" v="3460" actId="26606"/>
          <ac:spMkLst>
            <pc:docMk/>
            <pc:sldMk cId="874496626" sldId="575"/>
            <ac:spMk id="10" creationId="{AEF40793-6AFD-D608-59F4-86BB92BEFAEA}"/>
          </ac:spMkLst>
        </pc:spChg>
        <pc:spChg chg="add mod">
          <ac:chgData name="Nivedha N A" userId="48795343-f4b0-4368-b9f1-c6e5f3910d48" providerId="ADAL" clId="{3E51CB64-41DE-4E99-AA61-015D66A9A29C}" dt="2025-09-08T09:25:43.245" v="7837" actId="20577"/>
          <ac:spMkLst>
            <pc:docMk/>
            <pc:sldMk cId="874496626" sldId="575"/>
            <ac:spMk id="11" creationId="{543D0D9A-4522-C539-71B3-F2BED35D9868}"/>
          </ac:spMkLst>
        </pc:spChg>
      </pc:sldChg>
      <pc:sldChg chg="addSp modSp add mod ord">
        <pc:chgData name="Nivedha N A" userId="48795343-f4b0-4368-b9f1-c6e5f3910d48" providerId="ADAL" clId="{3E51CB64-41DE-4E99-AA61-015D66A9A29C}" dt="2025-09-04T07:13:35.229" v="4037" actId="1076"/>
        <pc:sldMkLst>
          <pc:docMk/>
          <pc:sldMk cId="3546195424" sldId="576"/>
        </pc:sldMkLst>
        <pc:spChg chg="mod">
          <ac:chgData name="Nivedha N A" userId="48795343-f4b0-4368-b9f1-c6e5f3910d48" providerId="ADAL" clId="{3E51CB64-41DE-4E99-AA61-015D66A9A29C}" dt="2025-09-04T07:02:23.785" v="3777" actId="20577"/>
          <ac:spMkLst>
            <pc:docMk/>
            <pc:sldMk cId="3546195424" sldId="576"/>
            <ac:spMk id="2" creationId="{FD577CFF-241D-FBD8-1045-BE0880F4DA4A}"/>
          </ac:spMkLst>
        </pc:spChg>
        <pc:spChg chg="add mod">
          <ac:chgData name="Nivedha N A" userId="48795343-f4b0-4368-b9f1-c6e5f3910d48" providerId="ADAL" clId="{3E51CB64-41DE-4E99-AA61-015D66A9A29C}" dt="2025-09-04T07:11:31.373" v="3838" actId="20577"/>
          <ac:spMkLst>
            <pc:docMk/>
            <pc:sldMk cId="3546195424" sldId="576"/>
            <ac:spMk id="5" creationId="{3DF9065D-C715-0BAE-4033-C61C8F638666}"/>
          </ac:spMkLst>
        </pc:spChg>
        <pc:spChg chg="mod">
          <ac:chgData name="Nivedha N A" userId="48795343-f4b0-4368-b9f1-c6e5f3910d48" providerId="ADAL" clId="{3E51CB64-41DE-4E99-AA61-015D66A9A29C}" dt="2025-09-04T07:10:59.320" v="3778" actId="14100"/>
          <ac:spMkLst>
            <pc:docMk/>
            <pc:sldMk cId="3546195424" sldId="576"/>
            <ac:spMk id="6" creationId="{E178A31A-4F37-D5F6-1D34-DD5BCE174798}"/>
          </ac:spMkLst>
        </pc:spChg>
        <pc:spChg chg="add mod">
          <ac:chgData name="Nivedha N A" userId="48795343-f4b0-4368-b9f1-c6e5f3910d48" providerId="ADAL" clId="{3E51CB64-41DE-4E99-AA61-015D66A9A29C}" dt="2025-09-04T07:13:35.229" v="4037" actId="1076"/>
          <ac:spMkLst>
            <pc:docMk/>
            <pc:sldMk cId="3546195424" sldId="576"/>
            <ac:spMk id="7" creationId="{260E21CC-E164-8D93-AC94-6704220FC999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4T05:11:40.803" v="3566" actId="20577"/>
        <pc:sldMkLst>
          <pc:docMk/>
          <pc:sldMk cId="2239801809" sldId="577"/>
        </pc:sldMkLst>
        <pc:spChg chg="mod">
          <ac:chgData name="Nivedha N A" userId="48795343-f4b0-4368-b9f1-c6e5f3910d48" providerId="ADAL" clId="{3E51CB64-41DE-4E99-AA61-015D66A9A29C}" dt="2025-09-04T05:11:40.803" v="3566" actId="20577"/>
          <ac:spMkLst>
            <pc:docMk/>
            <pc:sldMk cId="2239801809" sldId="577"/>
            <ac:spMk id="2" creationId="{7F9C8B91-87E7-2889-090E-E46BA5435F1A}"/>
          </ac:spMkLst>
        </pc:spChg>
        <pc:picChg chg="add mod">
          <ac:chgData name="Nivedha N A" userId="48795343-f4b0-4368-b9f1-c6e5f3910d48" providerId="ADAL" clId="{3E51CB64-41DE-4E99-AA61-015D66A9A29C}" dt="2025-09-04T05:11:13.971" v="3542" actId="14100"/>
          <ac:picMkLst>
            <pc:docMk/>
            <pc:sldMk cId="2239801809" sldId="577"/>
            <ac:picMk id="1026" creationId="{F0E12A8F-6CF2-383B-FB94-6DE3E43C3E60}"/>
          </ac:picMkLst>
        </pc:picChg>
      </pc:sldChg>
      <pc:sldChg chg="addSp delSp modSp add del mod ord">
        <pc:chgData name="Nivedha N A" userId="48795343-f4b0-4368-b9f1-c6e5f3910d48" providerId="ADAL" clId="{3E51CB64-41DE-4E99-AA61-015D66A9A29C}" dt="2025-09-04T06:59:59.987" v="3752" actId="2696"/>
        <pc:sldMkLst>
          <pc:docMk/>
          <pc:sldMk cId="588287756" sldId="578"/>
        </pc:sldMkLst>
      </pc:sldChg>
      <pc:sldChg chg="addSp delSp modSp add mod">
        <pc:chgData name="Nivedha N A" userId="48795343-f4b0-4368-b9f1-c6e5f3910d48" providerId="ADAL" clId="{3E51CB64-41DE-4E99-AA61-015D66A9A29C}" dt="2025-09-04T07:01:26.682" v="3755"/>
        <pc:sldMkLst>
          <pc:docMk/>
          <pc:sldMk cId="1428981574" sldId="578"/>
        </pc:sldMkLst>
        <pc:picChg chg="add mod">
          <ac:chgData name="Nivedha N A" userId="48795343-f4b0-4368-b9f1-c6e5f3910d48" providerId="ADAL" clId="{3E51CB64-41DE-4E99-AA61-015D66A9A29C}" dt="2025-09-04T07:01:26.682" v="3755"/>
          <ac:picMkLst>
            <pc:docMk/>
            <pc:sldMk cId="1428981574" sldId="578"/>
            <ac:picMk id="2050" creationId="{8E7C6AA6-B143-FD7C-92B4-2CF96684BF7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6T12:10:22.021" v="5772" actId="20577"/>
        <pc:sldMkLst>
          <pc:docMk/>
          <pc:sldMk cId="20709100" sldId="579"/>
        </pc:sldMkLst>
        <pc:spChg chg="mod">
          <ac:chgData name="Nivedha N A" userId="48795343-f4b0-4368-b9f1-c6e5f3910d48" providerId="ADAL" clId="{3E51CB64-41DE-4E99-AA61-015D66A9A29C}" dt="2025-09-04T07:17:02.287" v="4039"/>
          <ac:spMkLst>
            <pc:docMk/>
            <pc:sldMk cId="20709100" sldId="579"/>
            <ac:spMk id="2" creationId="{BB2961E1-423C-1277-7D45-F47FE0523E06}"/>
          </ac:spMkLst>
        </pc:spChg>
        <pc:spChg chg="add del mod">
          <ac:chgData name="Nivedha N A" userId="48795343-f4b0-4368-b9f1-c6e5f3910d48" providerId="ADAL" clId="{3E51CB64-41DE-4E99-AA61-015D66A9A29C}" dt="2025-09-04T07:57:07.449" v="4284" actId="1076"/>
          <ac:spMkLst>
            <pc:docMk/>
            <pc:sldMk cId="20709100" sldId="579"/>
            <ac:spMk id="5" creationId="{6BA039A2-05E3-B470-1A6F-50A18922C07C}"/>
          </ac:spMkLst>
        </pc:spChg>
        <pc:spChg chg="mod">
          <ac:chgData name="Nivedha N A" userId="48795343-f4b0-4368-b9f1-c6e5f3910d48" providerId="ADAL" clId="{3E51CB64-41DE-4E99-AA61-015D66A9A29C}" dt="2025-09-06T12:10:22.021" v="5772" actId="20577"/>
          <ac:spMkLst>
            <pc:docMk/>
            <pc:sldMk cId="20709100" sldId="579"/>
            <ac:spMk id="6" creationId="{2530A07A-2079-C05E-4819-88200AA197E1}"/>
          </ac:spMkLst>
        </pc:spChg>
        <pc:spChg chg="add del mod">
          <ac:chgData name="Nivedha N A" userId="48795343-f4b0-4368-b9f1-c6e5f3910d48" providerId="ADAL" clId="{3E51CB64-41DE-4E99-AA61-015D66A9A29C}" dt="2025-09-04T07:24:23.080" v="4061" actId="21"/>
          <ac:spMkLst>
            <pc:docMk/>
            <pc:sldMk cId="20709100" sldId="579"/>
            <ac:spMk id="7" creationId="{7EDFDA3A-1FB9-7025-2FCB-2DC3E1D7E939}"/>
          </ac:spMkLst>
        </pc:spChg>
        <pc:spChg chg="add mod">
          <ac:chgData name="Nivedha N A" userId="48795343-f4b0-4368-b9f1-c6e5f3910d48" providerId="ADAL" clId="{3E51CB64-41DE-4E99-AA61-015D66A9A29C}" dt="2025-09-04T07:57:13.244" v="4285" actId="1076"/>
          <ac:spMkLst>
            <pc:docMk/>
            <pc:sldMk cId="20709100" sldId="579"/>
            <ac:spMk id="12" creationId="{81A8FA8E-0934-0A61-3B45-1421D5EDBB81}"/>
          </ac:spMkLst>
        </pc:spChg>
      </pc:sldChg>
      <pc:sldChg chg="addSp delSp modSp add del mod">
        <pc:chgData name="Nivedha N A" userId="48795343-f4b0-4368-b9f1-c6e5f3910d48" providerId="ADAL" clId="{3E51CB64-41DE-4E99-AA61-015D66A9A29C}" dt="2025-09-04T06:59:56.531" v="3751" actId="2696"/>
        <pc:sldMkLst>
          <pc:docMk/>
          <pc:sldMk cId="4093915870" sldId="579"/>
        </pc:sldMkLst>
      </pc:sldChg>
      <pc:sldChg chg="addSp delSp modSp add del mod ord">
        <pc:chgData name="Nivedha N A" userId="48795343-f4b0-4368-b9f1-c6e5f3910d48" providerId="ADAL" clId="{3E51CB64-41DE-4E99-AA61-015D66A9A29C}" dt="2025-09-04T07:56:25.709" v="4279" actId="2696"/>
        <pc:sldMkLst>
          <pc:docMk/>
          <pc:sldMk cId="3979886337" sldId="580"/>
        </pc:sldMkLst>
      </pc:sldChg>
      <pc:sldChg chg="addSp delSp modSp add mod ord">
        <pc:chgData name="Nivedha N A" userId="48795343-f4b0-4368-b9f1-c6e5f3910d48" providerId="ADAL" clId="{3E51CB64-41DE-4E99-AA61-015D66A9A29C}" dt="2025-09-04T07:41:47.340" v="4226" actId="20577"/>
        <pc:sldMkLst>
          <pc:docMk/>
          <pc:sldMk cId="2067814136" sldId="581"/>
        </pc:sldMkLst>
        <pc:spChg chg="mod">
          <ac:chgData name="Nivedha N A" userId="48795343-f4b0-4368-b9f1-c6e5f3910d48" providerId="ADAL" clId="{3E51CB64-41DE-4E99-AA61-015D66A9A29C}" dt="2025-09-04T07:41:47.340" v="4226" actId="20577"/>
          <ac:spMkLst>
            <pc:docMk/>
            <pc:sldMk cId="2067814136" sldId="581"/>
            <ac:spMk id="2" creationId="{04AD7F02-6938-A516-53B9-37571BCF58A8}"/>
          </ac:spMkLst>
        </pc:spChg>
        <pc:picChg chg="add mod">
          <ac:chgData name="Nivedha N A" userId="48795343-f4b0-4368-b9f1-c6e5f3910d48" providerId="ADAL" clId="{3E51CB64-41DE-4E99-AA61-015D66A9A29C}" dt="2025-09-04T07:41:31.252" v="4207" actId="1076"/>
          <ac:picMkLst>
            <pc:docMk/>
            <pc:sldMk cId="2067814136" sldId="581"/>
            <ac:picMk id="6" creationId="{636EF97C-CF0D-E443-BF79-32B022ED5990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12:15:12.785" v="5798" actId="1076"/>
        <pc:sldMkLst>
          <pc:docMk/>
          <pc:sldMk cId="1850419535" sldId="582"/>
        </pc:sldMkLst>
        <pc:spChg chg="mod ord">
          <ac:chgData name="Nivedha N A" userId="48795343-f4b0-4368-b9f1-c6e5f3910d48" providerId="ADAL" clId="{3E51CB64-41DE-4E99-AA61-015D66A9A29C}" dt="2025-09-06T12:11:13.253" v="5777" actId="26606"/>
          <ac:spMkLst>
            <pc:docMk/>
            <pc:sldMk cId="1850419535" sldId="582"/>
            <ac:spMk id="2" creationId="{5BB9891E-C076-8007-61CF-002C5ED8C598}"/>
          </ac:spMkLst>
        </pc:spChg>
        <pc:spChg chg="mod">
          <ac:chgData name="Nivedha N A" userId="48795343-f4b0-4368-b9f1-c6e5f3910d48" providerId="ADAL" clId="{3E51CB64-41DE-4E99-AA61-015D66A9A29C}" dt="2025-09-06T12:11:13.253" v="5777" actId="26606"/>
          <ac:spMkLst>
            <pc:docMk/>
            <pc:sldMk cId="1850419535" sldId="582"/>
            <ac:spMk id="3" creationId="{34EB2128-F3E0-9047-DDA9-96F968307AE9}"/>
          </ac:spMkLst>
        </pc:spChg>
        <pc:spChg chg="mod">
          <ac:chgData name="Nivedha N A" userId="48795343-f4b0-4368-b9f1-c6e5f3910d48" providerId="ADAL" clId="{3E51CB64-41DE-4E99-AA61-015D66A9A29C}" dt="2025-09-06T12:11:13.253" v="5777" actId="26606"/>
          <ac:spMkLst>
            <pc:docMk/>
            <pc:sldMk cId="1850419535" sldId="582"/>
            <ac:spMk id="4" creationId="{367D8166-859B-260F-1DFD-2F68544A9250}"/>
          </ac:spMkLst>
        </pc:spChg>
        <pc:spChg chg="add mod">
          <ac:chgData name="Nivedha N A" userId="48795343-f4b0-4368-b9f1-c6e5f3910d48" providerId="ADAL" clId="{3E51CB64-41DE-4E99-AA61-015D66A9A29C}" dt="2025-09-06T12:15:01.199" v="5797" actId="14100"/>
          <ac:spMkLst>
            <pc:docMk/>
            <pc:sldMk cId="1850419535" sldId="582"/>
            <ac:spMk id="7" creationId="{A44FE8BC-3926-8EAA-D913-AD9C37C5D0AA}"/>
          </ac:spMkLst>
        </pc:spChg>
        <pc:picChg chg="add mod">
          <ac:chgData name="Nivedha N A" userId="48795343-f4b0-4368-b9f1-c6e5f3910d48" providerId="ADAL" clId="{3E51CB64-41DE-4E99-AA61-015D66A9A29C}" dt="2025-09-06T12:15:12.785" v="5798" actId="1076"/>
          <ac:picMkLst>
            <pc:docMk/>
            <pc:sldMk cId="1850419535" sldId="582"/>
            <ac:picMk id="15" creationId="{2F5FE966-4A3D-4C79-F81D-2906AD05B90B}"/>
          </ac:picMkLst>
        </pc:picChg>
      </pc:sldChg>
      <pc:sldChg chg="add">
        <pc:chgData name="Nivedha N A" userId="48795343-f4b0-4368-b9f1-c6e5f3910d48" providerId="ADAL" clId="{3E51CB64-41DE-4E99-AA61-015D66A9A29C}" dt="2025-09-05T07:16:04.126" v="4286"/>
        <pc:sldMkLst>
          <pc:docMk/>
          <pc:sldMk cId="666515498" sldId="583"/>
        </pc:sldMkLst>
      </pc:sldChg>
      <pc:sldChg chg="addSp modSp add">
        <pc:chgData name="Nivedha N A" userId="48795343-f4b0-4368-b9f1-c6e5f3910d48" providerId="ADAL" clId="{3E51CB64-41DE-4E99-AA61-015D66A9A29C}" dt="2025-09-05T07:29:31.896" v="4294" actId="14100"/>
        <pc:sldMkLst>
          <pc:docMk/>
          <pc:sldMk cId="831707057" sldId="584"/>
        </pc:sldMkLst>
        <pc:picChg chg="add mod">
          <ac:chgData name="Nivedha N A" userId="48795343-f4b0-4368-b9f1-c6e5f3910d48" providerId="ADAL" clId="{3E51CB64-41DE-4E99-AA61-015D66A9A29C}" dt="2025-09-05T07:29:31.896" v="4294" actId="14100"/>
          <ac:picMkLst>
            <pc:docMk/>
            <pc:sldMk cId="831707057" sldId="584"/>
            <ac:picMk id="1026" creationId="{C4496BF3-DC05-35BC-A34B-EB1A2652FA96}"/>
          </ac:picMkLst>
        </pc:picChg>
      </pc:sldChg>
      <pc:sldChg chg="modSp add del mod">
        <pc:chgData name="Nivedha N A" userId="48795343-f4b0-4368-b9f1-c6e5f3910d48" providerId="ADAL" clId="{3E51CB64-41DE-4E99-AA61-015D66A9A29C}" dt="2025-09-05T07:46:42.370" v="4309" actId="2696"/>
        <pc:sldMkLst>
          <pc:docMk/>
          <pc:sldMk cId="1600243098" sldId="585"/>
        </pc:sldMkLst>
      </pc:sldChg>
      <pc:sldChg chg="addSp delSp modSp add mod">
        <pc:chgData name="Nivedha N A" userId="48795343-f4b0-4368-b9f1-c6e5f3910d48" providerId="ADAL" clId="{3E51CB64-41DE-4E99-AA61-015D66A9A29C}" dt="2025-09-05T08:49:30.559" v="4417" actId="1076"/>
        <pc:sldMkLst>
          <pc:docMk/>
          <pc:sldMk cId="2028381853" sldId="586"/>
        </pc:sldMkLst>
        <pc:spChg chg="mod">
          <ac:chgData name="Nivedha N A" userId="48795343-f4b0-4368-b9f1-c6e5f3910d48" providerId="ADAL" clId="{3E51CB64-41DE-4E99-AA61-015D66A9A29C}" dt="2025-09-05T07:47:44.633" v="4334" actId="20577"/>
          <ac:spMkLst>
            <pc:docMk/>
            <pc:sldMk cId="2028381853" sldId="586"/>
            <ac:spMk id="3" creationId="{5E736FFB-847D-494E-A90E-A4C6C3E009E2}"/>
          </ac:spMkLst>
        </pc:spChg>
        <pc:graphicFrameChg chg="mod modGraphic">
          <ac:chgData name="Nivedha N A" userId="48795343-f4b0-4368-b9f1-c6e5f3910d48" providerId="ADAL" clId="{3E51CB64-41DE-4E99-AA61-015D66A9A29C}" dt="2025-09-05T07:51:09.888" v="4353" actId="20577"/>
          <ac:graphicFrameMkLst>
            <pc:docMk/>
            <pc:sldMk cId="2028381853" sldId="586"/>
            <ac:graphicFrameMk id="9" creationId="{EA7235D3-31C4-1295-C01E-4F62BF842D43}"/>
          </ac:graphicFrameMkLst>
        </pc:graphicFrameChg>
        <pc:picChg chg="add mod">
          <ac:chgData name="Nivedha N A" userId="48795343-f4b0-4368-b9f1-c6e5f3910d48" providerId="ADAL" clId="{3E51CB64-41DE-4E99-AA61-015D66A9A29C}" dt="2025-09-05T08:49:30.559" v="4417" actId="1076"/>
          <ac:picMkLst>
            <pc:docMk/>
            <pc:sldMk cId="2028381853" sldId="586"/>
            <ac:picMk id="24" creationId="{D9358320-EE22-466B-3E0F-9A750EBACFA4}"/>
          </ac:picMkLst>
        </pc:picChg>
        <pc:picChg chg="add mod">
          <ac:chgData name="Nivedha N A" userId="48795343-f4b0-4368-b9f1-c6e5f3910d48" providerId="ADAL" clId="{3E51CB64-41DE-4E99-AA61-015D66A9A29C}" dt="2025-09-05T08:44:51.808" v="4414" actId="14100"/>
          <ac:picMkLst>
            <pc:docMk/>
            <pc:sldMk cId="2028381853" sldId="586"/>
            <ac:picMk id="31" creationId="{96F81561-ADF8-9181-CCEA-5A58A8F54828}"/>
          </ac:picMkLst>
        </pc:picChg>
      </pc:sldChg>
      <pc:sldChg chg="addSp delSp modSp add ord">
        <pc:chgData name="Nivedha N A" userId="48795343-f4b0-4368-b9f1-c6e5f3910d48" providerId="ADAL" clId="{3E51CB64-41DE-4E99-AA61-015D66A9A29C}" dt="2025-09-05T09:16:27.595" v="4449" actId="14100"/>
        <pc:sldMkLst>
          <pc:docMk/>
          <pc:sldMk cId="4154444979" sldId="587"/>
        </pc:sldMkLst>
        <pc:picChg chg="add mod">
          <ac:chgData name="Nivedha N A" userId="48795343-f4b0-4368-b9f1-c6e5f3910d48" providerId="ADAL" clId="{3E51CB64-41DE-4E99-AA61-015D66A9A29C}" dt="2025-09-05T09:16:27.595" v="4449" actId="14100"/>
          <ac:picMkLst>
            <pc:docMk/>
            <pc:sldMk cId="4154444979" sldId="587"/>
            <ac:picMk id="4098" creationId="{FA0F1974-E205-BA6E-647D-6C4E3AC7F65A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5T09:27:37.750" v="4526" actId="20577"/>
        <pc:sldMkLst>
          <pc:docMk/>
          <pc:sldMk cId="303328133" sldId="588"/>
        </pc:sldMkLst>
        <pc:spChg chg="mod">
          <ac:chgData name="Nivedha N A" userId="48795343-f4b0-4368-b9f1-c6e5f3910d48" providerId="ADAL" clId="{3E51CB64-41DE-4E99-AA61-015D66A9A29C}" dt="2025-09-05T09:24:58.019" v="4479"/>
          <ac:spMkLst>
            <pc:docMk/>
            <pc:sldMk cId="303328133" sldId="588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5T09:27:37.750" v="4526" actId="20577"/>
          <ac:spMkLst>
            <pc:docMk/>
            <pc:sldMk cId="303328133" sldId="588"/>
            <ac:spMk id="8" creationId="{B0B1E615-E944-47CD-AC27-55B477280C41}"/>
          </ac:spMkLst>
        </pc:spChg>
      </pc:sldChg>
      <pc:sldChg chg="addSp delSp modSp add">
        <pc:chgData name="Nivedha N A" userId="48795343-f4b0-4368-b9f1-c6e5f3910d48" providerId="ADAL" clId="{3E51CB64-41DE-4E99-AA61-015D66A9A29C}" dt="2025-09-05T09:52:01.327" v="4533"/>
        <pc:sldMkLst>
          <pc:docMk/>
          <pc:sldMk cId="3982542547" sldId="589"/>
        </pc:sldMkLst>
        <pc:picChg chg="add mod">
          <ac:chgData name="Nivedha N A" userId="48795343-f4b0-4368-b9f1-c6e5f3910d48" providerId="ADAL" clId="{3E51CB64-41DE-4E99-AA61-015D66A9A29C}" dt="2025-09-05T09:52:01.327" v="4533"/>
          <ac:picMkLst>
            <pc:docMk/>
            <pc:sldMk cId="3982542547" sldId="589"/>
            <ac:picMk id="5122" creationId="{AB2A85DA-FEBF-620C-6489-F8BFCD2239FB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5T10:21:19.043" v="4546"/>
        <pc:sldMkLst>
          <pc:docMk/>
          <pc:sldMk cId="2179899064" sldId="590"/>
        </pc:sldMkLst>
        <pc:spChg chg="mod">
          <ac:chgData name="Nivedha N A" userId="48795343-f4b0-4368-b9f1-c6e5f3910d48" providerId="ADAL" clId="{3E51CB64-41DE-4E99-AA61-015D66A9A29C}" dt="2025-09-05T10:21:19.043" v="4546"/>
          <ac:spMkLst>
            <pc:docMk/>
            <pc:sldMk cId="2179899064" sldId="590"/>
            <ac:spMk id="2" creationId="{2C46C735-6399-870B-E51C-B57CB842B1B3}"/>
          </ac:spMkLst>
        </pc:spChg>
        <pc:picChg chg="add mod">
          <ac:chgData name="Nivedha N A" userId="48795343-f4b0-4368-b9f1-c6e5f3910d48" providerId="ADAL" clId="{3E51CB64-41DE-4E99-AA61-015D66A9A29C}" dt="2025-09-05T10:20:09.163" v="4545" actId="1076"/>
          <ac:picMkLst>
            <pc:docMk/>
            <pc:sldMk cId="2179899064" sldId="590"/>
            <ac:picMk id="6146" creationId="{A11F5484-E62E-0CB7-13A8-5839B6E2048F}"/>
          </ac:picMkLst>
        </pc:picChg>
      </pc:sldChg>
      <pc:sldChg chg="addSp delSp modSp add mod ord modClrScheme chgLayout">
        <pc:chgData name="Nivedha N A" userId="48795343-f4b0-4368-b9f1-c6e5f3910d48" providerId="ADAL" clId="{3E51CB64-41DE-4E99-AA61-015D66A9A29C}" dt="2025-09-06T09:26:30.128" v="4781" actId="1076"/>
        <pc:sldMkLst>
          <pc:docMk/>
          <pc:sldMk cId="1621579340" sldId="591"/>
        </pc:sldMkLst>
        <pc:spChg chg="mod ord">
          <ac:chgData name="Nivedha N A" userId="48795343-f4b0-4368-b9f1-c6e5f3910d48" providerId="ADAL" clId="{3E51CB64-41DE-4E99-AA61-015D66A9A29C}" dt="2025-09-05T11:16:25.331" v="4566" actId="20577"/>
          <ac:spMkLst>
            <pc:docMk/>
            <pc:sldMk cId="1621579340" sldId="591"/>
            <ac:spMk id="2" creationId="{10B729AC-B863-11E0-8EBD-BF33B82CC8E4}"/>
          </ac:spMkLst>
        </pc:spChg>
        <pc:spChg chg="mod">
          <ac:chgData name="Nivedha N A" userId="48795343-f4b0-4368-b9f1-c6e5f3910d48" providerId="ADAL" clId="{3E51CB64-41DE-4E99-AA61-015D66A9A29C}" dt="2025-09-05T11:15:42.136" v="4550" actId="26606"/>
          <ac:spMkLst>
            <pc:docMk/>
            <pc:sldMk cId="1621579340" sldId="591"/>
            <ac:spMk id="3" creationId="{629FF964-BE51-75E5-F7D6-CF73C7FEA124}"/>
          </ac:spMkLst>
        </pc:spChg>
        <pc:spChg chg="mod">
          <ac:chgData name="Nivedha N A" userId="48795343-f4b0-4368-b9f1-c6e5f3910d48" providerId="ADAL" clId="{3E51CB64-41DE-4E99-AA61-015D66A9A29C}" dt="2025-09-05T11:15:42.136" v="4550" actId="26606"/>
          <ac:spMkLst>
            <pc:docMk/>
            <pc:sldMk cId="1621579340" sldId="591"/>
            <ac:spMk id="4" creationId="{6427A64A-0293-951F-E671-C25A65EAEC1C}"/>
          </ac:spMkLst>
        </pc:spChg>
        <pc:spChg chg="add mod">
          <ac:chgData name="Nivedha N A" userId="48795343-f4b0-4368-b9f1-c6e5f3910d48" providerId="ADAL" clId="{3E51CB64-41DE-4E99-AA61-015D66A9A29C}" dt="2025-09-05T11:59:01.242" v="4642" actId="1076"/>
          <ac:spMkLst>
            <pc:docMk/>
            <pc:sldMk cId="1621579340" sldId="591"/>
            <ac:spMk id="5" creationId="{70EEE49D-7603-2AF2-4A01-B5F86DEEC8CE}"/>
          </ac:spMkLst>
        </pc:spChg>
        <pc:picChg chg="add mod">
          <ac:chgData name="Nivedha N A" userId="48795343-f4b0-4368-b9f1-c6e5f3910d48" providerId="ADAL" clId="{3E51CB64-41DE-4E99-AA61-015D66A9A29C}" dt="2025-09-06T09:26:30.128" v="4781" actId="1076"/>
          <ac:picMkLst>
            <pc:docMk/>
            <pc:sldMk cId="1621579340" sldId="591"/>
            <ac:picMk id="7" creationId="{08227C1D-E28C-004F-F223-3E04224908CB}"/>
          </ac:picMkLst>
        </pc:picChg>
      </pc:sldChg>
      <pc:sldChg chg="addSp delSp modSp add">
        <pc:chgData name="Nivedha N A" userId="48795343-f4b0-4368-b9f1-c6e5f3910d48" providerId="ADAL" clId="{3E51CB64-41DE-4E99-AA61-015D66A9A29C}" dt="2025-09-05T12:33:03.883" v="4657"/>
        <pc:sldMkLst>
          <pc:docMk/>
          <pc:sldMk cId="2489306746" sldId="592"/>
        </pc:sldMkLst>
        <pc:picChg chg="add mod">
          <ac:chgData name="Nivedha N A" userId="48795343-f4b0-4368-b9f1-c6e5f3910d48" providerId="ADAL" clId="{3E51CB64-41DE-4E99-AA61-015D66A9A29C}" dt="2025-09-05T11:55:22.157" v="4569"/>
          <ac:picMkLst>
            <pc:docMk/>
            <pc:sldMk cId="2489306746" sldId="592"/>
            <ac:picMk id="8194" creationId="{7485243C-9C1E-8441-B5C0-09430CF36AC1}"/>
          </ac:picMkLst>
        </pc:picChg>
      </pc:sldChg>
      <pc:sldChg chg="addSp delSp modSp add del">
        <pc:chgData name="Nivedha N A" userId="48795343-f4b0-4368-b9f1-c6e5f3910d48" providerId="ADAL" clId="{3E51CB64-41DE-4E99-AA61-015D66A9A29C}" dt="2025-09-05T12:30:53.145" v="4650" actId="2696"/>
        <pc:sldMkLst>
          <pc:docMk/>
          <pc:sldMk cId="1895246347" sldId="593"/>
        </pc:sldMkLst>
      </pc:sldChg>
      <pc:sldChg chg="addSp delSp modSp add mod">
        <pc:chgData name="Nivedha N A" userId="48795343-f4b0-4368-b9f1-c6e5f3910d48" providerId="ADAL" clId="{3E51CB64-41DE-4E99-AA61-015D66A9A29C}" dt="2025-09-05T13:10:11.159" v="4771" actId="14100"/>
        <pc:sldMkLst>
          <pc:docMk/>
          <pc:sldMk cId="2464543451" sldId="593"/>
        </pc:sldMkLst>
        <pc:spChg chg="add mod">
          <ac:chgData name="Nivedha N A" userId="48795343-f4b0-4368-b9f1-c6e5f3910d48" providerId="ADAL" clId="{3E51CB64-41DE-4E99-AA61-015D66A9A29C}" dt="2025-09-05T13:10:11.159" v="4771" actId="14100"/>
          <ac:spMkLst>
            <pc:docMk/>
            <pc:sldMk cId="2464543451" sldId="593"/>
            <ac:spMk id="11" creationId="{DAE1D874-96D5-9DE4-9259-A5C02E8BAD48}"/>
          </ac:spMkLst>
        </pc:spChg>
        <pc:picChg chg="add del mod">
          <ac:chgData name="Nivedha N A" userId="48795343-f4b0-4368-b9f1-c6e5f3910d48" providerId="ADAL" clId="{3E51CB64-41DE-4E99-AA61-015D66A9A29C}" dt="2025-09-05T13:04:31.947" v="4748" actId="14100"/>
          <ac:picMkLst>
            <pc:docMk/>
            <pc:sldMk cId="2464543451" sldId="593"/>
            <ac:picMk id="10250" creationId="{8E0C881F-0540-B00C-491B-28DCC816C50D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5T13:10:47.415" v="4774" actId="21"/>
        <pc:sldMkLst>
          <pc:docMk/>
          <pc:sldMk cId="1415945064" sldId="594"/>
        </pc:sldMkLst>
        <pc:spChg chg="mod ord">
          <ac:chgData name="Nivedha N A" userId="48795343-f4b0-4368-b9f1-c6e5f3910d48" providerId="ADAL" clId="{3E51CB64-41DE-4E99-AA61-015D66A9A29C}" dt="2025-09-05T13:03:02.520" v="4741" actId="26606"/>
          <ac:spMkLst>
            <pc:docMk/>
            <pc:sldMk cId="1415945064" sldId="594"/>
            <ac:spMk id="2" creationId="{625EFD9D-CF12-4918-45DF-24DD5B752F2A}"/>
          </ac:spMkLst>
        </pc:spChg>
        <pc:spChg chg="mod ord">
          <ac:chgData name="Nivedha N A" userId="48795343-f4b0-4368-b9f1-c6e5f3910d48" providerId="ADAL" clId="{3E51CB64-41DE-4E99-AA61-015D66A9A29C}" dt="2025-09-05T13:03:02.520" v="4741" actId="26606"/>
          <ac:spMkLst>
            <pc:docMk/>
            <pc:sldMk cId="1415945064" sldId="594"/>
            <ac:spMk id="3" creationId="{78D22267-20E9-CDE2-BF46-27C8CF0D0EDE}"/>
          </ac:spMkLst>
        </pc:spChg>
        <pc:spChg chg="mod">
          <ac:chgData name="Nivedha N A" userId="48795343-f4b0-4368-b9f1-c6e5f3910d48" providerId="ADAL" clId="{3E51CB64-41DE-4E99-AA61-015D66A9A29C}" dt="2025-09-05T13:03:02.520" v="4741" actId="26606"/>
          <ac:spMkLst>
            <pc:docMk/>
            <pc:sldMk cId="1415945064" sldId="594"/>
            <ac:spMk id="4" creationId="{13AD53CF-6D51-3572-40F9-0B21B19FBED1}"/>
          </ac:spMkLst>
        </pc:spChg>
        <pc:picChg chg="add mod ord">
          <ac:chgData name="Nivedha N A" userId="48795343-f4b0-4368-b9f1-c6e5f3910d48" providerId="ADAL" clId="{3E51CB64-41DE-4E99-AA61-015D66A9A29C}" dt="2025-09-05T13:10:38.520" v="4772" actId="732"/>
          <ac:picMkLst>
            <pc:docMk/>
            <pc:sldMk cId="1415945064" sldId="594"/>
            <ac:picMk id="11268" creationId="{2E8642B9-9F35-1DF9-A489-6FB145B9FF65}"/>
          </ac:picMkLst>
        </pc:picChg>
      </pc:sldChg>
      <pc:sldChg chg="modSp add mod">
        <pc:chgData name="Nivedha N A" userId="48795343-f4b0-4368-b9f1-c6e5f3910d48" providerId="ADAL" clId="{3E51CB64-41DE-4E99-AA61-015D66A9A29C}" dt="2025-09-08T09:26:18.819" v="7989" actId="20577"/>
        <pc:sldMkLst>
          <pc:docMk/>
          <pc:sldMk cId="1712712960" sldId="595"/>
        </pc:sldMkLst>
        <pc:spChg chg="mod">
          <ac:chgData name="Nivedha N A" userId="48795343-f4b0-4368-b9f1-c6e5f3910d48" providerId="ADAL" clId="{3E51CB64-41DE-4E99-AA61-015D66A9A29C}" dt="2025-09-06T10:18:51.154" v="5098" actId="20577"/>
          <ac:spMkLst>
            <pc:docMk/>
            <pc:sldMk cId="1712712960" sldId="595"/>
            <ac:spMk id="2" creationId="{C1F3D4AC-4404-7AA3-DA9F-448E18BFF4E4}"/>
          </ac:spMkLst>
        </pc:spChg>
        <pc:spChg chg="mod">
          <ac:chgData name="Nivedha N A" userId="48795343-f4b0-4368-b9f1-c6e5f3910d48" providerId="ADAL" clId="{3E51CB64-41DE-4E99-AA61-015D66A9A29C}" dt="2025-09-08T09:26:18.819" v="7989" actId="20577"/>
          <ac:spMkLst>
            <pc:docMk/>
            <pc:sldMk cId="1712712960" sldId="595"/>
            <ac:spMk id="11" creationId="{00736E14-1CF2-EC1A-F13A-8FEFA971C93D}"/>
          </ac:spMkLst>
        </pc:spChg>
      </pc:sldChg>
      <pc:sldChg chg="addSp modSp add mod">
        <pc:chgData name="Nivedha N A" userId="48795343-f4b0-4368-b9f1-c6e5f3910d48" providerId="ADAL" clId="{3E51CB64-41DE-4E99-AA61-015D66A9A29C}" dt="2025-09-08T05:58:41.848" v="7241" actId="20577"/>
        <pc:sldMkLst>
          <pc:docMk/>
          <pc:sldMk cId="3218419673" sldId="596"/>
        </pc:sldMkLst>
        <pc:spChg chg="mod">
          <ac:chgData name="Nivedha N A" userId="48795343-f4b0-4368-b9f1-c6e5f3910d48" providerId="ADAL" clId="{3E51CB64-41DE-4E99-AA61-015D66A9A29C}" dt="2025-09-06T10:32:24.781" v="5223" actId="20577"/>
          <ac:spMkLst>
            <pc:docMk/>
            <pc:sldMk cId="3218419673" sldId="596"/>
            <ac:spMk id="2" creationId="{7E275209-6FFB-0810-40BE-818CAADDB049}"/>
          </ac:spMkLst>
        </pc:spChg>
        <pc:spChg chg="add mod">
          <ac:chgData name="Nivedha N A" userId="48795343-f4b0-4368-b9f1-c6e5f3910d48" providerId="ADAL" clId="{3E51CB64-41DE-4E99-AA61-015D66A9A29C}" dt="2025-09-08T05:58:41.848" v="7241" actId="20577"/>
          <ac:spMkLst>
            <pc:docMk/>
            <pc:sldMk cId="3218419673" sldId="596"/>
            <ac:spMk id="5" creationId="{D4A97E0F-8FD1-5D93-61AD-0B9296AAAC05}"/>
          </ac:spMkLst>
        </pc:spChg>
        <pc:spChg chg="mod">
          <ac:chgData name="Nivedha N A" userId="48795343-f4b0-4368-b9f1-c6e5f3910d48" providerId="ADAL" clId="{3E51CB64-41DE-4E99-AA61-015D66A9A29C}" dt="2025-09-06T13:21:20.568" v="5830" actId="21"/>
          <ac:spMkLst>
            <pc:docMk/>
            <pc:sldMk cId="3218419673" sldId="596"/>
            <ac:spMk id="11" creationId="{8B6A2A58-3128-8E58-9400-3ED174707EE3}"/>
          </ac:spMkLst>
        </pc:spChg>
      </pc:sldChg>
      <pc:sldChg chg="modSp add mod">
        <pc:chgData name="Nivedha N A" userId="48795343-f4b0-4368-b9f1-c6e5f3910d48" providerId="ADAL" clId="{3E51CB64-41DE-4E99-AA61-015D66A9A29C}" dt="2025-09-06T14:19:01.949" v="5855" actId="20577"/>
        <pc:sldMkLst>
          <pc:docMk/>
          <pc:sldMk cId="1174757456" sldId="597"/>
        </pc:sldMkLst>
        <pc:spChg chg="mod">
          <ac:chgData name="Nivedha N A" userId="48795343-f4b0-4368-b9f1-c6e5f3910d48" providerId="ADAL" clId="{3E51CB64-41DE-4E99-AA61-015D66A9A29C}" dt="2025-09-06T14:19:01.949" v="5855" actId="20577"/>
          <ac:spMkLst>
            <pc:docMk/>
            <pc:sldMk cId="1174757456" sldId="597"/>
            <ac:spMk id="4" creationId="{846E1523-AB09-6BDE-8F2B-4FFC3D750784}"/>
          </ac:spMkLst>
        </pc:spChg>
      </pc:sldChg>
      <pc:sldChg chg="add del">
        <pc:chgData name="Nivedha N A" userId="48795343-f4b0-4368-b9f1-c6e5f3910d48" providerId="ADAL" clId="{3E51CB64-41DE-4E99-AA61-015D66A9A29C}" dt="2025-09-07T06:28:05.400" v="6511" actId="2696"/>
        <pc:sldMkLst>
          <pc:docMk/>
          <pc:sldMk cId="3507740730" sldId="598"/>
        </pc:sldMkLst>
      </pc:sldChg>
      <pc:sldChg chg="addSp delSp modSp add ord">
        <pc:chgData name="Nivedha N A" userId="48795343-f4b0-4368-b9f1-c6e5f3910d48" providerId="ADAL" clId="{3E51CB64-41DE-4E99-AA61-015D66A9A29C}" dt="2025-09-07T03:57:38.560" v="6104"/>
        <pc:sldMkLst>
          <pc:docMk/>
          <pc:sldMk cId="1185368465" sldId="599"/>
        </pc:sldMkLst>
        <pc:spChg chg="add mod">
          <ac:chgData name="Nivedha N A" userId="48795343-f4b0-4368-b9f1-c6e5f3910d48" providerId="ADAL" clId="{3E51CB64-41DE-4E99-AA61-015D66A9A29C}" dt="2025-09-06T15:30:22.132" v="5858" actId="21"/>
          <ac:spMkLst>
            <pc:docMk/>
            <pc:sldMk cId="1185368465" sldId="599"/>
            <ac:spMk id="5" creationId="{4C2647D0-4315-84B0-857E-DF67CC27397E}"/>
          </ac:spMkLst>
        </pc:spChg>
        <pc:picChg chg="add mod">
          <ac:chgData name="Nivedha N A" userId="48795343-f4b0-4368-b9f1-c6e5f3910d48" providerId="ADAL" clId="{3E51CB64-41DE-4E99-AA61-015D66A9A29C}" dt="2025-09-06T15:30:38.403" v="5861" actId="14100"/>
          <ac:picMkLst>
            <pc:docMk/>
            <pc:sldMk cId="1185368465" sldId="599"/>
            <ac:picMk id="12290" creationId="{79A8B4A0-4E5E-6242-3226-B2E36930EFE3}"/>
          </ac:picMkLst>
        </pc:picChg>
      </pc:sldChg>
      <pc:sldChg chg="addSp delSp modSp add del">
        <pc:chgData name="Nivedha N A" userId="48795343-f4b0-4368-b9f1-c6e5f3910d48" providerId="ADAL" clId="{3E51CB64-41DE-4E99-AA61-015D66A9A29C}" dt="2025-09-06T15:54:42.539" v="5867" actId="2890"/>
        <pc:sldMkLst>
          <pc:docMk/>
          <pc:sldMk cId="1061449306" sldId="600"/>
        </pc:sldMkLst>
      </pc:sldChg>
      <pc:sldChg chg="addSp delSp modSp add del mod">
        <pc:chgData name="Nivedha N A" userId="48795343-f4b0-4368-b9f1-c6e5f3910d48" providerId="ADAL" clId="{3E51CB64-41DE-4E99-AA61-015D66A9A29C}" dt="2025-09-06T16:02:00.674" v="5880" actId="2696"/>
        <pc:sldMkLst>
          <pc:docMk/>
          <pc:sldMk cId="4029110047" sldId="600"/>
        </pc:sldMkLst>
      </pc:sldChg>
      <pc:sldChg chg="addSp delSp modSp add mod ord">
        <pc:chgData name="Nivedha N A" userId="48795343-f4b0-4368-b9f1-c6e5f3910d48" providerId="ADAL" clId="{3E51CB64-41DE-4E99-AA61-015D66A9A29C}" dt="2025-09-06T16:02:05.131" v="5882"/>
        <pc:sldMkLst>
          <pc:docMk/>
          <pc:sldMk cId="748272512" sldId="601"/>
        </pc:sldMkLst>
        <pc:spChg chg="add mod">
          <ac:chgData name="Nivedha N A" userId="48795343-f4b0-4368-b9f1-c6e5f3910d48" providerId="ADAL" clId="{3E51CB64-41DE-4E99-AA61-015D66A9A29C}" dt="2025-09-06T16:01:25.091" v="5872" actId="21"/>
          <ac:spMkLst>
            <pc:docMk/>
            <pc:sldMk cId="748272512" sldId="601"/>
            <ac:spMk id="5" creationId="{66C3E4B5-7FD4-DFA7-87EC-0F616F0AAAB4}"/>
          </ac:spMkLst>
        </pc:spChg>
        <pc:picChg chg="add mod">
          <ac:chgData name="Nivedha N A" userId="48795343-f4b0-4368-b9f1-c6e5f3910d48" providerId="ADAL" clId="{3E51CB64-41DE-4E99-AA61-015D66A9A29C}" dt="2025-09-06T16:01:48.936" v="5879" actId="14100"/>
          <ac:picMkLst>
            <pc:docMk/>
            <pc:sldMk cId="748272512" sldId="601"/>
            <ac:picMk id="7" creationId="{3F7402E1-1A7B-D494-08B6-A877DE07BC89}"/>
          </ac:picMkLst>
        </pc:picChg>
      </pc:sldChg>
      <pc:sldChg chg="addSp modSp add mod ord">
        <pc:chgData name="Nivedha N A" userId="48795343-f4b0-4368-b9f1-c6e5f3910d48" providerId="ADAL" clId="{3E51CB64-41DE-4E99-AA61-015D66A9A29C}" dt="2025-09-07T04:13:47.956" v="6127" actId="20577"/>
        <pc:sldMkLst>
          <pc:docMk/>
          <pc:sldMk cId="2275789021" sldId="602"/>
        </pc:sldMkLst>
        <pc:spChg chg="mod">
          <ac:chgData name="Nivedha N A" userId="48795343-f4b0-4368-b9f1-c6e5f3910d48" providerId="ADAL" clId="{3E51CB64-41DE-4E99-AA61-015D66A9A29C}" dt="2025-09-07T03:36:10.702" v="5941"/>
          <ac:spMkLst>
            <pc:docMk/>
            <pc:sldMk cId="2275789021" sldId="602"/>
            <ac:spMk id="5" creationId="{70B1B3EB-D95D-2C7B-D0D4-DDDD2AC26BC5}"/>
          </ac:spMkLst>
        </pc:spChg>
        <pc:spChg chg="mod">
          <ac:chgData name="Nivedha N A" userId="48795343-f4b0-4368-b9f1-c6e5f3910d48" providerId="ADAL" clId="{3E51CB64-41DE-4E99-AA61-015D66A9A29C}" dt="2025-09-07T04:13:47.956" v="6127" actId="20577"/>
          <ac:spMkLst>
            <pc:docMk/>
            <pc:sldMk cId="2275789021" sldId="602"/>
            <ac:spMk id="8" creationId="{506A05B3-6CC8-1F13-C91B-6041B905E782}"/>
          </ac:spMkLst>
        </pc:spChg>
      </pc:sldChg>
      <pc:sldChg chg="addSp delSp modSp add mod ord">
        <pc:chgData name="Nivedha N A" userId="48795343-f4b0-4368-b9f1-c6e5f3910d48" providerId="ADAL" clId="{3E51CB64-41DE-4E99-AA61-015D66A9A29C}" dt="2025-09-07T04:17:29.478" v="6151"/>
        <pc:sldMkLst>
          <pc:docMk/>
          <pc:sldMk cId="3328666860" sldId="603"/>
        </pc:sldMkLst>
        <pc:picChg chg="add del mod">
          <ac:chgData name="Nivedha N A" userId="48795343-f4b0-4368-b9f1-c6e5f3910d48" providerId="ADAL" clId="{3E51CB64-41DE-4E99-AA61-015D66A9A29C}" dt="2025-09-07T04:17:12.609" v="6149" actId="14100"/>
          <ac:picMkLst>
            <pc:docMk/>
            <pc:sldMk cId="3328666860" sldId="603"/>
            <ac:picMk id="15362" creationId="{9DA08A23-558F-DF04-D777-E2B015A913CA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7T06:05:11.324" v="6430" actId="2696"/>
        <pc:sldMkLst>
          <pc:docMk/>
          <pc:sldMk cId="597098713" sldId="604"/>
        </pc:sldMkLst>
      </pc:sldChg>
      <pc:sldChg chg="addSp modSp add del mod">
        <pc:chgData name="Nivedha N A" userId="48795343-f4b0-4368-b9f1-c6e5f3910d48" providerId="ADAL" clId="{3E51CB64-41DE-4E99-AA61-015D66A9A29C}" dt="2025-09-07T06:08:03.980" v="6457" actId="2696"/>
        <pc:sldMkLst>
          <pc:docMk/>
          <pc:sldMk cId="3250454880" sldId="605"/>
        </pc:sldMkLst>
      </pc:sldChg>
      <pc:sldChg chg="addSp delSp modSp add mod">
        <pc:chgData name="Nivedha N A" userId="48795343-f4b0-4368-b9f1-c6e5f3910d48" providerId="ADAL" clId="{3E51CB64-41DE-4E99-AA61-015D66A9A29C}" dt="2025-09-07T06:07:46.058" v="6456" actId="20577"/>
        <pc:sldMkLst>
          <pc:docMk/>
          <pc:sldMk cId="1213524462" sldId="606"/>
        </pc:sldMkLst>
        <pc:spChg chg="mod">
          <ac:chgData name="Nivedha N A" userId="48795343-f4b0-4368-b9f1-c6e5f3910d48" providerId="ADAL" clId="{3E51CB64-41DE-4E99-AA61-015D66A9A29C}" dt="2025-09-07T06:07:46.058" v="6456" actId="20577"/>
          <ac:spMkLst>
            <pc:docMk/>
            <pc:sldMk cId="1213524462" sldId="606"/>
            <ac:spMk id="2" creationId="{375F07FC-34F6-648C-9E48-E4A4D2E69083}"/>
          </ac:spMkLst>
        </pc:spChg>
        <pc:picChg chg="add mod">
          <ac:chgData name="Nivedha N A" userId="48795343-f4b0-4368-b9f1-c6e5f3910d48" providerId="ADAL" clId="{3E51CB64-41DE-4E99-AA61-015D66A9A29C}" dt="2025-09-07T06:07:02.142" v="6442" actId="1076"/>
          <ac:picMkLst>
            <pc:docMk/>
            <pc:sldMk cId="1213524462" sldId="606"/>
            <ac:picMk id="7" creationId="{ED084D19-684F-0E65-D4FB-BB66B7B1C63A}"/>
          </ac:picMkLst>
        </pc:picChg>
        <pc:picChg chg="add mod">
          <ac:chgData name="Nivedha N A" userId="48795343-f4b0-4368-b9f1-c6e5f3910d48" providerId="ADAL" clId="{3E51CB64-41DE-4E99-AA61-015D66A9A29C}" dt="2025-09-07T06:06:50.868" v="6441" actId="1076"/>
          <ac:picMkLst>
            <pc:docMk/>
            <pc:sldMk cId="1213524462" sldId="606"/>
            <ac:picMk id="9" creationId="{7B235C93-46F9-831E-5680-DC75116CD390}"/>
          </ac:picMkLst>
        </pc:picChg>
      </pc:sldChg>
      <pc:sldChg chg="add">
        <pc:chgData name="Nivedha N A" userId="48795343-f4b0-4368-b9f1-c6e5f3910d48" providerId="ADAL" clId="{3E51CB64-41DE-4E99-AA61-015D66A9A29C}" dt="2025-09-07T06:05:25.644" v="6431" actId="2890"/>
        <pc:sldMkLst>
          <pc:docMk/>
          <pc:sldMk cId="4078179356" sldId="607"/>
        </pc:sldMkLst>
      </pc:sldChg>
      <pc:sldChg chg="addSp delSp modSp add mod">
        <pc:chgData name="Nivedha N A" userId="48795343-f4b0-4368-b9f1-c6e5f3910d48" providerId="ADAL" clId="{3E51CB64-41DE-4E99-AA61-015D66A9A29C}" dt="2025-09-07T07:55:54.275" v="6650" actId="1076"/>
        <pc:sldMkLst>
          <pc:docMk/>
          <pc:sldMk cId="1109307656" sldId="608"/>
        </pc:sldMkLst>
        <pc:spChg chg="mod">
          <ac:chgData name="Nivedha N A" userId="48795343-f4b0-4368-b9f1-c6e5f3910d48" providerId="ADAL" clId="{3E51CB64-41DE-4E99-AA61-015D66A9A29C}" dt="2025-09-07T07:55:54.275" v="6650" actId="1076"/>
          <ac:spMkLst>
            <pc:docMk/>
            <pc:sldMk cId="1109307656" sldId="608"/>
            <ac:spMk id="2" creationId="{8799A19A-3DA5-85D4-B71C-3A6D402BA047}"/>
          </ac:spMkLst>
        </pc:spChg>
        <pc:picChg chg="add mod">
          <ac:chgData name="Nivedha N A" userId="48795343-f4b0-4368-b9f1-c6e5f3910d48" providerId="ADAL" clId="{3E51CB64-41DE-4E99-AA61-015D66A9A29C}" dt="2025-09-07T07:54:48.801" v="6646" actId="14100"/>
          <ac:picMkLst>
            <pc:docMk/>
            <pc:sldMk cId="1109307656" sldId="608"/>
            <ac:picMk id="8" creationId="{5642351A-3798-225C-53A1-82043A9C6A01}"/>
          </ac:picMkLst>
        </pc:picChg>
        <pc:picChg chg="add mod">
          <ac:chgData name="Nivedha N A" userId="48795343-f4b0-4368-b9f1-c6e5f3910d48" providerId="ADAL" clId="{3E51CB64-41DE-4E99-AA61-015D66A9A29C}" dt="2025-09-07T07:54:55.170" v="6648" actId="14100"/>
          <ac:picMkLst>
            <pc:docMk/>
            <pc:sldMk cId="1109307656" sldId="608"/>
            <ac:picMk id="10" creationId="{5ECF7D5B-8C76-11B0-6FF0-4AC04DF08A5F}"/>
          </ac:picMkLst>
        </pc:picChg>
        <pc:picChg chg="add mod">
          <ac:chgData name="Nivedha N A" userId="48795343-f4b0-4368-b9f1-c6e5f3910d48" providerId="ADAL" clId="{3E51CB64-41DE-4E99-AA61-015D66A9A29C}" dt="2025-09-07T07:00:16.480" v="6535" actId="14100"/>
          <ac:picMkLst>
            <pc:docMk/>
            <pc:sldMk cId="1109307656" sldId="608"/>
            <ac:picMk id="18434" creationId="{B5CC2784-00F0-AA3D-516C-57CD695E0AE7}"/>
          </ac:picMkLst>
        </pc:picChg>
        <pc:picChg chg="add mod">
          <ac:chgData name="Nivedha N A" userId="48795343-f4b0-4368-b9f1-c6e5f3910d48" providerId="ADAL" clId="{3E51CB64-41DE-4E99-AA61-015D66A9A29C}" dt="2025-09-07T07:00:20.406" v="6536" actId="14100"/>
          <ac:picMkLst>
            <pc:docMk/>
            <pc:sldMk cId="1109307656" sldId="608"/>
            <ac:picMk id="18438" creationId="{A70EEC79-34B4-DFB7-446B-363B6D2D86BE}"/>
          </ac:picMkLst>
        </pc:picChg>
      </pc:sldChg>
      <pc:sldChg chg="addSp delSp modSp add">
        <pc:chgData name="Nivedha N A" userId="48795343-f4b0-4368-b9f1-c6e5f3910d48" providerId="ADAL" clId="{3E51CB64-41DE-4E99-AA61-015D66A9A29C}" dt="2025-09-07T07:45:47.385" v="6615" actId="14100"/>
        <pc:sldMkLst>
          <pc:docMk/>
          <pc:sldMk cId="3769338518" sldId="609"/>
        </pc:sldMkLst>
        <pc:picChg chg="add mod">
          <ac:chgData name="Nivedha N A" userId="48795343-f4b0-4368-b9f1-c6e5f3910d48" providerId="ADAL" clId="{3E51CB64-41DE-4E99-AA61-015D66A9A29C}" dt="2025-09-07T07:45:47.385" v="6615" actId="14100"/>
          <ac:picMkLst>
            <pc:docMk/>
            <pc:sldMk cId="3769338518" sldId="609"/>
            <ac:picMk id="20482" creationId="{F16C17CD-CF97-8BDD-C26A-4E45403C3FA2}"/>
          </ac:picMkLst>
        </pc:picChg>
      </pc:sldChg>
      <pc:sldChg chg="modSp add mod">
        <pc:chgData name="Nivedha N A" userId="48795343-f4b0-4368-b9f1-c6e5f3910d48" providerId="ADAL" clId="{3E51CB64-41DE-4E99-AA61-015D66A9A29C}" dt="2025-09-07T07:27:55.522" v="6578" actId="20577"/>
        <pc:sldMkLst>
          <pc:docMk/>
          <pc:sldMk cId="4021241874" sldId="610"/>
        </pc:sldMkLst>
        <pc:spChg chg="mod">
          <ac:chgData name="Nivedha N A" userId="48795343-f4b0-4368-b9f1-c6e5f3910d48" providerId="ADAL" clId="{3E51CB64-41DE-4E99-AA61-015D66A9A29C}" dt="2025-09-07T07:27:55.522" v="6578" actId="20577"/>
          <ac:spMkLst>
            <pc:docMk/>
            <pc:sldMk cId="4021241874" sldId="610"/>
            <ac:spMk id="4" creationId="{287DDF2A-593C-5B48-277B-7DBAAD387FAA}"/>
          </ac:spMkLst>
        </pc:spChg>
      </pc:sldChg>
      <pc:sldChg chg="addSp delSp modSp add mod ord modClrScheme chgLayout">
        <pc:chgData name="Nivedha N A" userId="48795343-f4b0-4368-b9f1-c6e5f3910d48" providerId="ADAL" clId="{3E51CB64-41DE-4E99-AA61-015D66A9A29C}" dt="2025-09-07T07:44:23.514" v="6603" actId="255"/>
        <pc:sldMkLst>
          <pc:docMk/>
          <pc:sldMk cId="2124806542" sldId="611"/>
        </pc:sldMkLst>
        <pc:spChg chg="mod">
          <ac:chgData name="Nivedha N A" userId="48795343-f4b0-4368-b9f1-c6e5f3910d48" providerId="ADAL" clId="{3E51CB64-41DE-4E99-AA61-015D66A9A29C}" dt="2025-09-07T07:42:24.521" v="6597" actId="20577"/>
          <ac:spMkLst>
            <pc:docMk/>
            <pc:sldMk cId="2124806542" sldId="611"/>
            <ac:spMk id="2" creationId="{88A22306-BC1D-8770-63B7-FA5C42E2EA8E}"/>
          </ac:spMkLst>
        </pc:spChg>
        <pc:spChg chg="mod">
          <ac:chgData name="Nivedha N A" userId="48795343-f4b0-4368-b9f1-c6e5f3910d48" providerId="ADAL" clId="{3E51CB64-41DE-4E99-AA61-015D66A9A29C}" dt="2025-09-07T07:42:11.104" v="6592" actId="26606"/>
          <ac:spMkLst>
            <pc:docMk/>
            <pc:sldMk cId="2124806542" sldId="611"/>
            <ac:spMk id="3" creationId="{044B13F4-32E6-9499-29E0-A544A31790F1}"/>
          </ac:spMkLst>
        </pc:spChg>
        <pc:spChg chg="mod ord">
          <ac:chgData name="Nivedha N A" userId="48795343-f4b0-4368-b9f1-c6e5f3910d48" providerId="ADAL" clId="{3E51CB64-41DE-4E99-AA61-015D66A9A29C}" dt="2025-09-07T07:42:11.104" v="6592" actId="26606"/>
          <ac:spMkLst>
            <pc:docMk/>
            <pc:sldMk cId="2124806542" sldId="611"/>
            <ac:spMk id="4" creationId="{44B7BC00-438A-8EF0-E822-C8E6A739CEC9}"/>
          </ac:spMkLst>
        </pc:spChg>
        <pc:spChg chg="add mod">
          <ac:chgData name="Nivedha N A" userId="48795343-f4b0-4368-b9f1-c6e5f3910d48" providerId="ADAL" clId="{3E51CB64-41DE-4E99-AA61-015D66A9A29C}" dt="2025-09-07T07:44:23.514" v="6603" actId="255"/>
          <ac:spMkLst>
            <pc:docMk/>
            <pc:sldMk cId="2124806542" sldId="611"/>
            <ac:spMk id="6" creationId="{7FC98494-C660-F321-2771-ECF5B2D2BDFF}"/>
          </ac:spMkLst>
        </pc:spChg>
        <pc:picChg chg="add mod">
          <ac:chgData name="Nivedha N A" userId="48795343-f4b0-4368-b9f1-c6e5f3910d48" providerId="ADAL" clId="{3E51CB64-41DE-4E99-AA61-015D66A9A29C}" dt="2025-09-07T07:42:11.104" v="6592" actId="26606"/>
          <ac:picMkLst>
            <pc:docMk/>
            <pc:sldMk cId="2124806542" sldId="611"/>
            <ac:picMk id="21508" creationId="{1435AC2C-90B6-BDD5-5791-8F53BA61667F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7T07:54:21.118" v="6644" actId="20577"/>
        <pc:sldMkLst>
          <pc:docMk/>
          <pc:sldMk cId="1363360046" sldId="612"/>
        </pc:sldMkLst>
        <pc:spChg chg="mod ord">
          <ac:chgData name="Nivedha N A" userId="48795343-f4b0-4368-b9f1-c6e5f3910d48" providerId="ADAL" clId="{3E51CB64-41DE-4E99-AA61-015D66A9A29C}" dt="2025-09-07T07:54:21.118" v="6644" actId="20577"/>
          <ac:spMkLst>
            <pc:docMk/>
            <pc:sldMk cId="1363360046" sldId="612"/>
            <ac:spMk id="2" creationId="{138AB976-33FF-6825-1937-AB7014E86703}"/>
          </ac:spMkLst>
        </pc:spChg>
        <pc:spChg chg="mod">
          <ac:chgData name="Nivedha N A" userId="48795343-f4b0-4368-b9f1-c6e5f3910d48" providerId="ADAL" clId="{3E51CB64-41DE-4E99-AA61-015D66A9A29C}" dt="2025-09-07T07:45:29.853" v="6613" actId="26606"/>
          <ac:spMkLst>
            <pc:docMk/>
            <pc:sldMk cId="1363360046" sldId="612"/>
            <ac:spMk id="3" creationId="{27834D62-9498-1FC3-2B3B-A65F0BDA3185}"/>
          </ac:spMkLst>
        </pc:spChg>
        <pc:spChg chg="mod ord">
          <ac:chgData name="Nivedha N A" userId="48795343-f4b0-4368-b9f1-c6e5f3910d48" providerId="ADAL" clId="{3E51CB64-41DE-4E99-AA61-015D66A9A29C}" dt="2025-09-07T07:45:29.853" v="6613" actId="26606"/>
          <ac:spMkLst>
            <pc:docMk/>
            <pc:sldMk cId="1363360046" sldId="612"/>
            <ac:spMk id="4" creationId="{289D946C-22D6-A177-9662-7FED3676F302}"/>
          </ac:spMkLst>
        </pc:spChg>
        <pc:picChg chg="add mod">
          <ac:chgData name="Nivedha N A" userId="48795343-f4b0-4368-b9f1-c6e5f3910d48" providerId="ADAL" clId="{3E51CB64-41DE-4E99-AA61-015D66A9A29C}" dt="2025-09-07T07:48:05.085" v="6618" actId="1076"/>
          <ac:picMkLst>
            <pc:docMk/>
            <pc:sldMk cId="1363360046" sldId="612"/>
            <ac:picMk id="22530" creationId="{6E35ED6A-FD73-3E1C-AC46-303433EAB230}"/>
          </ac:picMkLst>
        </pc:picChg>
      </pc:sldChg>
      <pc:sldChg chg="addSp modSp add del mod">
        <pc:chgData name="Nivedha N A" userId="48795343-f4b0-4368-b9f1-c6e5f3910d48" providerId="ADAL" clId="{3E51CB64-41DE-4E99-AA61-015D66A9A29C}" dt="2025-09-07T13:54:42.538" v="6961" actId="2696"/>
        <pc:sldMkLst>
          <pc:docMk/>
          <pc:sldMk cId="2320645195" sldId="613"/>
        </pc:sldMkLst>
      </pc:sldChg>
      <pc:sldChg chg="addSp modSp add del mod">
        <pc:chgData name="Nivedha N A" userId="48795343-f4b0-4368-b9f1-c6e5f3910d48" providerId="ADAL" clId="{3E51CB64-41DE-4E99-AA61-015D66A9A29C}" dt="2025-09-08T14:12:21.549" v="9164" actId="2696"/>
        <pc:sldMkLst>
          <pc:docMk/>
          <pc:sldMk cId="3183258445" sldId="614"/>
        </pc:sldMkLst>
        <pc:spChg chg="add mod">
          <ac:chgData name="Nivedha N A" userId="48795343-f4b0-4368-b9f1-c6e5f3910d48" providerId="ADAL" clId="{3E51CB64-41DE-4E99-AA61-015D66A9A29C}" dt="2025-09-08T14:09:19.978" v="9147"/>
          <ac:spMkLst>
            <pc:docMk/>
            <pc:sldMk cId="3183258445" sldId="614"/>
            <ac:spMk id="5" creationId="{DD9E389C-24DD-F3F3-4683-526E42E20FCA}"/>
          </ac:spMkLst>
        </pc:spChg>
      </pc:sldChg>
      <pc:sldChg chg="addSp delSp modSp add mod modClrScheme chgLayout">
        <pc:chgData name="Nivedha N A" userId="48795343-f4b0-4368-b9f1-c6e5f3910d48" providerId="ADAL" clId="{3E51CB64-41DE-4E99-AA61-015D66A9A29C}" dt="2025-09-07T14:24:52.183" v="6964" actId="14100"/>
        <pc:sldMkLst>
          <pc:docMk/>
          <pc:sldMk cId="1461482317" sldId="615"/>
        </pc:sldMkLst>
        <pc:spChg chg="mod ord">
          <ac:chgData name="Nivedha N A" userId="48795343-f4b0-4368-b9f1-c6e5f3910d48" providerId="ADAL" clId="{3E51CB64-41DE-4E99-AA61-015D66A9A29C}" dt="2025-09-07T13:20:45.717" v="6757" actId="20577"/>
          <ac:spMkLst>
            <pc:docMk/>
            <pc:sldMk cId="1461482317" sldId="615"/>
            <ac:spMk id="2" creationId="{1EFBDC41-4D90-311E-337D-0E8C93EEC7FE}"/>
          </ac:spMkLst>
        </pc:spChg>
        <pc:spChg chg="mod">
          <ac:chgData name="Nivedha N A" userId="48795343-f4b0-4368-b9f1-c6e5f3910d48" providerId="ADAL" clId="{3E51CB64-41DE-4E99-AA61-015D66A9A29C}" dt="2025-09-07T13:19:51.504" v="6712" actId="26606"/>
          <ac:spMkLst>
            <pc:docMk/>
            <pc:sldMk cId="1461482317" sldId="615"/>
            <ac:spMk id="3" creationId="{0284FF4F-ADFB-50CF-785E-D610E9500AAF}"/>
          </ac:spMkLst>
        </pc:spChg>
        <pc:spChg chg="mod">
          <ac:chgData name="Nivedha N A" userId="48795343-f4b0-4368-b9f1-c6e5f3910d48" providerId="ADAL" clId="{3E51CB64-41DE-4E99-AA61-015D66A9A29C}" dt="2025-09-07T13:19:51.504" v="6712" actId="26606"/>
          <ac:spMkLst>
            <pc:docMk/>
            <pc:sldMk cId="1461482317" sldId="615"/>
            <ac:spMk id="4" creationId="{ADDB4681-EAF2-E837-3681-E9960B193759}"/>
          </ac:spMkLst>
        </pc:spChg>
        <pc:spChg chg="mod ord">
          <ac:chgData name="Nivedha N A" userId="48795343-f4b0-4368-b9f1-c6e5f3910d48" providerId="ADAL" clId="{3E51CB64-41DE-4E99-AA61-015D66A9A29C}" dt="2025-09-07T14:24:48.648" v="6963" actId="27636"/>
          <ac:spMkLst>
            <pc:docMk/>
            <pc:sldMk cId="1461482317" sldId="615"/>
            <ac:spMk id="6" creationId="{55887A9B-5C52-AEDF-224F-CEBC5DC2D4C7}"/>
          </ac:spMkLst>
        </pc:spChg>
        <pc:picChg chg="add mod">
          <ac:chgData name="Nivedha N A" userId="48795343-f4b0-4368-b9f1-c6e5f3910d48" providerId="ADAL" clId="{3E51CB64-41DE-4E99-AA61-015D66A9A29C}" dt="2025-09-07T14:24:52.183" v="6964" actId="14100"/>
          <ac:picMkLst>
            <pc:docMk/>
            <pc:sldMk cId="1461482317" sldId="615"/>
            <ac:picMk id="7" creationId="{C0C41232-819C-2670-B147-92093D403857}"/>
          </ac:picMkLst>
        </pc:picChg>
      </pc:sldChg>
      <pc:sldChg chg="del">
        <pc:chgData name="Nivedha N A" userId="48795343-f4b0-4368-b9f1-c6e5f3910d48" providerId="ADAL" clId="{3E51CB64-41DE-4E99-AA61-015D66A9A29C}" dt="2025-09-01T10:06:09.732" v="99" actId="2696"/>
        <pc:sldMkLst>
          <pc:docMk/>
          <pc:sldMk cId="3774469157" sldId="615"/>
        </pc:sldMkLst>
      </pc:sldChg>
      <pc:sldChg chg="addSp delSp modSp add mod">
        <pc:chgData name="Nivedha N A" userId="48795343-f4b0-4368-b9f1-c6e5f3910d48" providerId="ADAL" clId="{3E51CB64-41DE-4E99-AA61-015D66A9A29C}" dt="2025-09-08T06:16:58.088" v="7260" actId="20577"/>
        <pc:sldMkLst>
          <pc:docMk/>
          <pc:sldMk cId="2101562338" sldId="616"/>
        </pc:sldMkLst>
        <pc:spChg chg="mod">
          <ac:chgData name="Nivedha N A" userId="48795343-f4b0-4368-b9f1-c6e5f3910d48" providerId="ADAL" clId="{3E51CB64-41DE-4E99-AA61-015D66A9A29C}" dt="2025-09-08T06:16:58.088" v="7260" actId="20577"/>
          <ac:spMkLst>
            <pc:docMk/>
            <pc:sldMk cId="2101562338" sldId="616"/>
            <ac:spMk id="2" creationId="{E6D3B08E-B2D4-3BBB-0FC3-EB06F94CBC5F}"/>
          </ac:spMkLst>
        </pc:spChg>
        <pc:spChg chg="mod">
          <ac:chgData name="Nivedha N A" userId="48795343-f4b0-4368-b9f1-c6e5f3910d48" providerId="ADAL" clId="{3E51CB64-41DE-4E99-AA61-015D66A9A29C}" dt="2025-09-07T13:54:31.347" v="6960" actId="1076"/>
          <ac:spMkLst>
            <pc:docMk/>
            <pc:sldMk cId="2101562338" sldId="616"/>
            <ac:spMk id="6" creationId="{27E766BC-1FF1-C819-8554-AD02CFE5F4F6}"/>
          </ac:spMkLst>
        </pc:spChg>
        <pc:picChg chg="add mod">
          <ac:chgData name="Nivedha N A" userId="48795343-f4b0-4368-b9f1-c6e5f3910d48" providerId="ADAL" clId="{3E51CB64-41DE-4E99-AA61-015D66A9A29C}" dt="2025-09-07T13:54:21.847" v="6959" actId="1076"/>
          <ac:picMkLst>
            <pc:docMk/>
            <pc:sldMk cId="2101562338" sldId="616"/>
            <ac:picMk id="5" creationId="{22BA06F6-476B-C6D4-8FF3-609DFA211D58}"/>
          </ac:picMkLst>
        </pc:picChg>
      </pc:sldChg>
      <pc:sldChg chg="del">
        <pc:chgData name="Nivedha N A" userId="48795343-f4b0-4368-b9f1-c6e5f3910d48" providerId="ADAL" clId="{3E51CB64-41DE-4E99-AA61-015D66A9A29C}" dt="2025-09-01T10:06:12.140" v="100" actId="2696"/>
        <pc:sldMkLst>
          <pc:docMk/>
          <pc:sldMk cId="2924933890" sldId="616"/>
        </pc:sldMkLst>
      </pc:sldChg>
      <pc:sldChg chg="addSp delSp modSp add mod modClrScheme chgLayout">
        <pc:chgData name="Nivedha N A" userId="48795343-f4b0-4368-b9f1-c6e5f3910d48" providerId="ADAL" clId="{3E51CB64-41DE-4E99-AA61-015D66A9A29C}" dt="2025-09-08T03:55:05.898" v="7199" actId="207"/>
        <pc:sldMkLst>
          <pc:docMk/>
          <pc:sldMk cId="3100684125" sldId="617"/>
        </pc:sldMkLst>
        <pc:spChg chg="mod ord">
          <ac:chgData name="Nivedha N A" userId="48795343-f4b0-4368-b9f1-c6e5f3910d48" providerId="ADAL" clId="{3E51CB64-41DE-4E99-AA61-015D66A9A29C}" dt="2025-09-07T14:39:55.197" v="6973" actId="26606"/>
          <ac:spMkLst>
            <pc:docMk/>
            <pc:sldMk cId="3100684125" sldId="617"/>
            <ac:spMk id="2" creationId="{3A29D47A-3B3C-72B2-B504-522619A39543}"/>
          </ac:spMkLst>
        </pc:spChg>
        <pc:spChg chg="mod">
          <ac:chgData name="Nivedha N A" userId="48795343-f4b0-4368-b9f1-c6e5f3910d48" providerId="ADAL" clId="{3E51CB64-41DE-4E99-AA61-015D66A9A29C}" dt="2025-09-07T14:39:55.197" v="6973" actId="26606"/>
          <ac:spMkLst>
            <pc:docMk/>
            <pc:sldMk cId="3100684125" sldId="617"/>
            <ac:spMk id="3" creationId="{426EC51D-028E-CDE3-ECF8-318AAA5279EF}"/>
          </ac:spMkLst>
        </pc:spChg>
        <pc:spChg chg="mod">
          <ac:chgData name="Nivedha N A" userId="48795343-f4b0-4368-b9f1-c6e5f3910d48" providerId="ADAL" clId="{3E51CB64-41DE-4E99-AA61-015D66A9A29C}" dt="2025-09-07T14:39:55.197" v="6973" actId="26606"/>
          <ac:spMkLst>
            <pc:docMk/>
            <pc:sldMk cId="3100684125" sldId="617"/>
            <ac:spMk id="4" creationId="{39A14D5A-DB63-4079-E6A7-9BE4105281EF}"/>
          </ac:spMkLst>
        </pc:spChg>
        <pc:spChg chg="add mod">
          <ac:chgData name="Nivedha N A" userId="48795343-f4b0-4368-b9f1-c6e5f3910d48" providerId="ADAL" clId="{3E51CB64-41DE-4E99-AA61-015D66A9A29C}" dt="2025-09-08T03:55:05.898" v="7199" actId="207"/>
          <ac:spMkLst>
            <pc:docMk/>
            <pc:sldMk cId="3100684125" sldId="617"/>
            <ac:spMk id="14" creationId="{28ACBDF0-5261-117A-E529-953D0B55F6CD}"/>
          </ac:spMkLst>
        </pc:spChg>
        <pc:picChg chg="add mod">
          <ac:chgData name="Nivedha N A" userId="48795343-f4b0-4368-b9f1-c6e5f3910d48" providerId="ADAL" clId="{3E51CB64-41DE-4E99-AA61-015D66A9A29C}" dt="2025-09-07T14:40:36.203" v="6983" actId="1076"/>
          <ac:picMkLst>
            <pc:docMk/>
            <pc:sldMk cId="3100684125" sldId="617"/>
            <ac:picMk id="11" creationId="{CE793047-2F56-43D5-85D3-7F5FB1F5A8CA}"/>
          </ac:picMkLst>
        </pc:picChg>
      </pc:sldChg>
      <pc:sldChg chg="addSp modSp add mod">
        <pc:chgData name="Nivedha N A" userId="48795343-f4b0-4368-b9f1-c6e5f3910d48" providerId="ADAL" clId="{3E51CB64-41DE-4E99-AA61-015D66A9A29C}" dt="2025-09-08T06:48:03.163" v="7314"/>
        <pc:sldMkLst>
          <pc:docMk/>
          <pc:sldMk cId="1703464597" sldId="618"/>
        </pc:sldMkLst>
        <pc:spChg chg="mod">
          <ac:chgData name="Nivedha N A" userId="48795343-f4b0-4368-b9f1-c6e5f3910d48" providerId="ADAL" clId="{3E51CB64-41DE-4E99-AA61-015D66A9A29C}" dt="2025-09-08T06:48:03.163" v="7314"/>
          <ac:spMkLst>
            <pc:docMk/>
            <pc:sldMk cId="1703464597" sldId="618"/>
            <ac:spMk id="2" creationId="{300224C8-1CCF-26BD-2629-590CF8BFAFCA}"/>
          </ac:spMkLst>
        </pc:spChg>
        <pc:spChg chg="mod">
          <ac:chgData name="Nivedha N A" userId="48795343-f4b0-4368-b9f1-c6e5f3910d48" providerId="ADAL" clId="{3E51CB64-41DE-4E99-AA61-015D66A9A29C}" dt="2025-09-08T06:45:42.062" v="7307" actId="26606"/>
          <ac:spMkLst>
            <pc:docMk/>
            <pc:sldMk cId="1703464597" sldId="618"/>
            <ac:spMk id="3" creationId="{15231514-A0CD-DBEA-6DDD-5C86712C0291}"/>
          </ac:spMkLst>
        </pc:spChg>
        <pc:spChg chg="mod">
          <ac:chgData name="Nivedha N A" userId="48795343-f4b0-4368-b9f1-c6e5f3910d48" providerId="ADAL" clId="{3E51CB64-41DE-4E99-AA61-015D66A9A29C}" dt="2025-09-08T06:45:42.062" v="7307" actId="26606"/>
          <ac:spMkLst>
            <pc:docMk/>
            <pc:sldMk cId="1703464597" sldId="618"/>
            <ac:spMk id="4" creationId="{DE031E58-0E1E-D695-3CDA-1727ABA29D20}"/>
          </ac:spMkLst>
        </pc:spChg>
        <pc:spChg chg="add">
          <ac:chgData name="Nivedha N A" userId="48795343-f4b0-4368-b9f1-c6e5f3910d48" providerId="ADAL" clId="{3E51CB64-41DE-4E99-AA61-015D66A9A29C}" dt="2025-09-08T06:43:55.039" v="7283"/>
          <ac:spMkLst>
            <pc:docMk/>
            <pc:sldMk cId="1703464597" sldId="618"/>
            <ac:spMk id="5" creationId="{C9907546-910E-3F66-FFBF-F945F58C017E}"/>
          </ac:spMkLst>
        </pc:spChg>
        <pc:spChg chg="ord">
          <ac:chgData name="Nivedha N A" userId="48795343-f4b0-4368-b9f1-c6e5f3910d48" providerId="ADAL" clId="{3E51CB64-41DE-4E99-AA61-015D66A9A29C}" dt="2025-09-08T06:45:42.062" v="7307" actId="26606"/>
          <ac:spMkLst>
            <pc:docMk/>
            <pc:sldMk cId="1703464597" sldId="618"/>
            <ac:spMk id="10" creationId="{C3C2B7DA-79A7-3ABD-FEA9-766F388BDCAF}"/>
          </ac:spMkLst>
        </pc:spChg>
        <pc:spChg chg="mod ord">
          <ac:chgData name="Nivedha N A" userId="48795343-f4b0-4368-b9f1-c6e5f3910d48" providerId="ADAL" clId="{3E51CB64-41DE-4E99-AA61-015D66A9A29C}" dt="2025-09-08T06:46:15.271" v="7311" actId="14100"/>
          <ac:spMkLst>
            <pc:docMk/>
            <pc:sldMk cId="1703464597" sldId="618"/>
            <ac:spMk id="11" creationId="{56A8CA39-264B-350B-30A1-BBB9545123E5}"/>
          </ac:spMkLst>
        </pc:spChg>
        <pc:picChg chg="add mod">
          <ac:chgData name="Nivedha N A" userId="48795343-f4b0-4368-b9f1-c6e5f3910d48" providerId="ADAL" clId="{3E51CB64-41DE-4E99-AA61-015D66A9A29C}" dt="2025-09-08T06:46:18.266" v="7312" actId="1076"/>
          <ac:picMkLst>
            <pc:docMk/>
            <pc:sldMk cId="1703464597" sldId="618"/>
            <ac:picMk id="7" creationId="{26AA68F3-CF42-0CCE-5DF6-EB0AF0ECE9CA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6:22:37.425" v="7281" actId="1076"/>
        <pc:sldMkLst>
          <pc:docMk/>
          <pc:sldMk cId="4081859450" sldId="619"/>
        </pc:sldMkLst>
        <pc:spChg chg="mod">
          <ac:chgData name="Nivedha N A" userId="48795343-f4b0-4368-b9f1-c6e5f3910d48" providerId="ADAL" clId="{3E51CB64-41DE-4E99-AA61-015D66A9A29C}" dt="2025-09-08T06:17:21.960" v="7274" actId="20577"/>
          <ac:spMkLst>
            <pc:docMk/>
            <pc:sldMk cId="4081859450" sldId="619"/>
            <ac:spMk id="2" creationId="{E12C30F4-5037-63B4-E734-BFDF35233DFF}"/>
          </ac:spMkLst>
        </pc:spChg>
        <pc:spChg chg="del">
          <ac:chgData name="Nivedha N A" userId="48795343-f4b0-4368-b9f1-c6e5f3910d48" providerId="ADAL" clId="{3E51CB64-41DE-4E99-AA61-015D66A9A29C}" dt="2025-09-08T06:22:24.341" v="7278" actId="21"/>
          <ac:spMkLst>
            <pc:docMk/>
            <pc:sldMk cId="4081859450" sldId="619"/>
            <ac:spMk id="6" creationId="{A1314217-04C2-576A-A6AA-353F9B16A7B6}"/>
          </ac:spMkLst>
        </pc:spChg>
        <pc:picChg chg="del">
          <ac:chgData name="Nivedha N A" userId="48795343-f4b0-4368-b9f1-c6e5f3910d48" providerId="ADAL" clId="{3E51CB64-41DE-4E99-AA61-015D66A9A29C}" dt="2025-09-08T06:22:18.001" v="7276" actId="21"/>
          <ac:picMkLst>
            <pc:docMk/>
            <pc:sldMk cId="4081859450" sldId="619"/>
            <ac:picMk id="5" creationId="{B7BA9438-AA4F-69BA-FE26-CB8D451D7E5E}"/>
          </ac:picMkLst>
        </pc:picChg>
        <pc:picChg chg="add mod">
          <ac:chgData name="Nivedha N A" userId="48795343-f4b0-4368-b9f1-c6e5f3910d48" providerId="ADAL" clId="{3E51CB64-41DE-4E99-AA61-015D66A9A29C}" dt="2025-09-08T06:22:37.425" v="7281" actId="1076"/>
          <ac:picMkLst>
            <pc:docMk/>
            <pc:sldMk cId="4081859450" sldId="619"/>
            <ac:picMk id="8" creationId="{5C6BE603-7177-775B-2362-DD09657A8426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6:56:12.379" v="7374" actId="27636"/>
        <pc:sldMkLst>
          <pc:docMk/>
          <pc:sldMk cId="722529420" sldId="620"/>
        </pc:sldMkLst>
        <pc:spChg chg="mod">
          <ac:chgData name="Nivedha N A" userId="48795343-f4b0-4368-b9f1-c6e5f3910d48" providerId="ADAL" clId="{3E51CB64-41DE-4E99-AA61-015D66A9A29C}" dt="2025-09-08T06:48:19.634" v="7315"/>
          <ac:spMkLst>
            <pc:docMk/>
            <pc:sldMk cId="722529420" sldId="620"/>
            <ac:spMk id="2" creationId="{AFF3E599-E0A7-3A3A-0E45-F56ABA46FBBC}"/>
          </ac:spMkLst>
        </pc:spChg>
        <pc:spChg chg="mod">
          <ac:chgData name="Nivedha N A" userId="48795343-f4b0-4368-b9f1-c6e5f3910d48" providerId="ADAL" clId="{3E51CB64-41DE-4E99-AA61-015D66A9A29C}" dt="2025-09-08T06:56:12.379" v="7374" actId="27636"/>
          <ac:spMkLst>
            <pc:docMk/>
            <pc:sldMk cId="722529420" sldId="620"/>
            <ac:spMk id="11" creationId="{31AF4B33-1420-CA6C-ED6E-E3AEE53CB04A}"/>
          </ac:spMkLst>
        </pc:spChg>
        <pc:picChg chg="add mod">
          <ac:chgData name="Nivedha N A" userId="48795343-f4b0-4368-b9f1-c6e5f3910d48" providerId="ADAL" clId="{3E51CB64-41DE-4E99-AA61-015D66A9A29C}" dt="2025-09-08T06:52:41.535" v="7337" actId="1076"/>
          <ac:picMkLst>
            <pc:docMk/>
            <pc:sldMk cId="722529420" sldId="620"/>
            <ac:picMk id="6" creationId="{4A3205CE-0199-EC62-F5C6-387DF58D8D8B}"/>
          </ac:picMkLst>
        </pc:picChg>
        <pc:picChg chg="del">
          <ac:chgData name="Nivedha N A" userId="48795343-f4b0-4368-b9f1-c6e5f3910d48" providerId="ADAL" clId="{3E51CB64-41DE-4E99-AA61-015D66A9A29C}" dt="2025-09-08T06:49:31.124" v="7321" actId="21"/>
          <ac:picMkLst>
            <pc:docMk/>
            <pc:sldMk cId="722529420" sldId="620"/>
            <ac:picMk id="7" creationId="{4E9FD10E-CCCF-B01B-1EDE-CF424D4C1311}"/>
          </ac:picMkLst>
        </pc:picChg>
        <pc:picChg chg="add mod">
          <ac:chgData name="Nivedha N A" userId="48795343-f4b0-4368-b9f1-c6e5f3910d48" providerId="ADAL" clId="{3E51CB64-41DE-4E99-AA61-015D66A9A29C}" dt="2025-09-08T06:52:27.942" v="7336" actId="1076"/>
          <ac:picMkLst>
            <pc:docMk/>
            <pc:sldMk cId="722529420" sldId="620"/>
            <ac:picMk id="9" creationId="{5306DF42-7FBC-00B6-EFC8-CA242B5C7E74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6:57:48.353" v="7388" actId="14100"/>
        <pc:sldMkLst>
          <pc:docMk/>
          <pc:sldMk cId="1095972861" sldId="621"/>
        </pc:sldMkLst>
        <pc:spChg chg="mod">
          <ac:chgData name="Nivedha N A" userId="48795343-f4b0-4368-b9f1-c6e5f3910d48" providerId="ADAL" clId="{3E51CB64-41DE-4E99-AA61-015D66A9A29C}" dt="2025-09-08T06:55:35.355" v="7339"/>
          <ac:spMkLst>
            <pc:docMk/>
            <pc:sldMk cId="1095972861" sldId="621"/>
            <ac:spMk id="2" creationId="{961AE2D1-518E-26F2-2FC0-47B9359B202C}"/>
          </ac:spMkLst>
        </pc:spChg>
        <pc:spChg chg="mod">
          <ac:chgData name="Nivedha N A" userId="48795343-f4b0-4368-b9f1-c6e5f3910d48" providerId="ADAL" clId="{3E51CB64-41DE-4E99-AA61-015D66A9A29C}" dt="2025-09-08T06:57:11.037" v="7382" actId="207"/>
          <ac:spMkLst>
            <pc:docMk/>
            <pc:sldMk cId="1095972861" sldId="621"/>
            <ac:spMk id="11" creationId="{494BE161-E135-1EBA-B9E3-38BBDD5D68F1}"/>
          </ac:spMkLst>
        </pc:spChg>
        <pc:picChg chg="del">
          <ac:chgData name="Nivedha N A" userId="48795343-f4b0-4368-b9f1-c6e5f3910d48" providerId="ADAL" clId="{3E51CB64-41DE-4E99-AA61-015D66A9A29C}" dt="2025-09-08T06:56:59.232" v="7380" actId="21"/>
          <ac:picMkLst>
            <pc:docMk/>
            <pc:sldMk cId="1095972861" sldId="621"/>
            <ac:picMk id="6" creationId="{5A59A853-FC8B-938D-6BEE-C63D75BF737D}"/>
          </ac:picMkLst>
        </pc:picChg>
        <pc:picChg chg="add mod">
          <ac:chgData name="Nivedha N A" userId="48795343-f4b0-4368-b9f1-c6e5f3910d48" providerId="ADAL" clId="{3E51CB64-41DE-4E99-AA61-015D66A9A29C}" dt="2025-09-08T06:57:48.353" v="7388" actId="14100"/>
          <ac:picMkLst>
            <pc:docMk/>
            <pc:sldMk cId="1095972861" sldId="621"/>
            <ac:picMk id="7" creationId="{C495BCCF-04A5-1BAD-761C-52AEF7E8BF4B}"/>
          </ac:picMkLst>
        </pc:picChg>
        <pc:picChg chg="del">
          <ac:chgData name="Nivedha N A" userId="48795343-f4b0-4368-b9f1-c6e5f3910d48" providerId="ADAL" clId="{3E51CB64-41DE-4E99-AA61-015D66A9A29C}" dt="2025-09-08T06:56:03.597" v="7372" actId="21"/>
          <ac:picMkLst>
            <pc:docMk/>
            <pc:sldMk cId="1095972861" sldId="621"/>
            <ac:picMk id="9" creationId="{916EAAF2-3AA7-C973-3DAC-F6FFAECB371B}"/>
          </ac:picMkLst>
        </pc:picChg>
        <pc:picChg chg="add mod">
          <ac:chgData name="Nivedha N A" userId="48795343-f4b0-4368-b9f1-c6e5f3910d48" providerId="ADAL" clId="{3E51CB64-41DE-4E99-AA61-015D66A9A29C}" dt="2025-09-08T06:57:40.202" v="7387" actId="14100"/>
          <ac:picMkLst>
            <pc:docMk/>
            <pc:sldMk cId="1095972861" sldId="621"/>
            <ac:picMk id="12" creationId="{BEB2997C-BEF2-91B3-3F3F-6DC28E383F66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7:04:11.684" v="7400" actId="1076"/>
        <pc:sldMkLst>
          <pc:docMk/>
          <pc:sldMk cId="3244420474" sldId="622"/>
        </pc:sldMkLst>
        <pc:spChg chg="mod">
          <ac:chgData name="Nivedha N A" userId="48795343-f4b0-4368-b9f1-c6e5f3910d48" providerId="ADAL" clId="{3E51CB64-41DE-4E99-AA61-015D66A9A29C}" dt="2025-09-08T06:58:17.204" v="7390"/>
          <ac:spMkLst>
            <pc:docMk/>
            <pc:sldMk cId="3244420474" sldId="622"/>
            <ac:spMk id="2" creationId="{A90C8D81-DAE7-7B66-C2DF-80F90D1933FC}"/>
          </ac:spMkLst>
        </pc:spChg>
        <pc:spChg chg="mod">
          <ac:chgData name="Nivedha N A" userId="48795343-f4b0-4368-b9f1-c6e5f3910d48" providerId="ADAL" clId="{3E51CB64-41DE-4E99-AA61-015D66A9A29C}" dt="2025-09-08T06:58:34.585" v="7392" actId="207"/>
          <ac:spMkLst>
            <pc:docMk/>
            <pc:sldMk cId="3244420474" sldId="622"/>
            <ac:spMk id="11" creationId="{8F8D1BD3-02DD-8C9B-47C4-8D74D77C8E7A}"/>
          </ac:spMkLst>
        </pc:spChg>
        <pc:picChg chg="add mod">
          <ac:chgData name="Nivedha N A" userId="48795343-f4b0-4368-b9f1-c6e5f3910d48" providerId="ADAL" clId="{3E51CB64-41DE-4E99-AA61-015D66A9A29C}" dt="2025-09-08T07:04:11.684" v="7400" actId="1076"/>
          <ac:picMkLst>
            <pc:docMk/>
            <pc:sldMk cId="3244420474" sldId="622"/>
            <ac:picMk id="6" creationId="{885F57DE-18CF-3802-10A6-7E1C9FA91D2A}"/>
          </ac:picMkLst>
        </pc:picChg>
        <pc:picChg chg="del">
          <ac:chgData name="Nivedha N A" userId="48795343-f4b0-4368-b9f1-c6e5f3910d48" providerId="ADAL" clId="{3E51CB64-41DE-4E99-AA61-015D66A9A29C}" dt="2025-09-08T07:01:11.982" v="7394" actId="21"/>
          <ac:picMkLst>
            <pc:docMk/>
            <pc:sldMk cId="3244420474" sldId="622"/>
            <ac:picMk id="7" creationId="{FB1215D9-5CCD-F6B1-EDFB-1A91881B18B4}"/>
          </ac:picMkLst>
        </pc:picChg>
        <pc:picChg chg="add mod">
          <ac:chgData name="Nivedha N A" userId="48795343-f4b0-4368-b9f1-c6e5f3910d48" providerId="ADAL" clId="{3E51CB64-41DE-4E99-AA61-015D66A9A29C}" dt="2025-09-08T07:03:51.270" v="7398" actId="1076"/>
          <ac:picMkLst>
            <pc:docMk/>
            <pc:sldMk cId="3244420474" sldId="622"/>
            <ac:picMk id="9" creationId="{08657DF0-880D-69AB-D6AA-575D3D745C57}"/>
          </ac:picMkLst>
        </pc:picChg>
        <pc:picChg chg="del">
          <ac:chgData name="Nivedha N A" userId="48795343-f4b0-4368-b9f1-c6e5f3910d48" providerId="ADAL" clId="{3E51CB64-41DE-4E99-AA61-015D66A9A29C}" dt="2025-09-08T07:03:46.850" v="7397" actId="21"/>
          <ac:picMkLst>
            <pc:docMk/>
            <pc:sldMk cId="3244420474" sldId="622"/>
            <ac:picMk id="12" creationId="{FB57D0C1-2B6C-EFA0-E01B-2F695E398C01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7:18:13.106" v="7418" actId="1076"/>
        <pc:sldMkLst>
          <pc:docMk/>
          <pc:sldMk cId="438690751" sldId="623"/>
        </pc:sldMkLst>
        <pc:spChg chg="mod">
          <ac:chgData name="Nivedha N A" userId="48795343-f4b0-4368-b9f1-c6e5f3910d48" providerId="ADAL" clId="{3E51CB64-41DE-4E99-AA61-015D66A9A29C}" dt="2025-09-08T07:04:48.993" v="7402"/>
          <ac:spMkLst>
            <pc:docMk/>
            <pc:sldMk cId="438690751" sldId="623"/>
            <ac:spMk id="2" creationId="{A12B3393-87BB-ECE2-FF78-293AED2FEA47}"/>
          </ac:spMkLst>
        </pc:spChg>
        <pc:spChg chg="mod">
          <ac:chgData name="Nivedha N A" userId="48795343-f4b0-4368-b9f1-c6e5f3910d48" providerId="ADAL" clId="{3E51CB64-41DE-4E99-AA61-015D66A9A29C}" dt="2025-09-08T07:05:09.513" v="7404" actId="207"/>
          <ac:spMkLst>
            <pc:docMk/>
            <pc:sldMk cId="438690751" sldId="623"/>
            <ac:spMk id="11" creationId="{A0537638-EF5C-CC75-8721-805B239A543D}"/>
          </ac:spMkLst>
        </pc:spChg>
        <pc:picChg chg="del">
          <ac:chgData name="Nivedha N A" userId="48795343-f4b0-4368-b9f1-c6e5f3910d48" providerId="ADAL" clId="{3E51CB64-41DE-4E99-AA61-015D66A9A29C}" dt="2025-09-08T07:15:52.108" v="7409" actId="21"/>
          <ac:picMkLst>
            <pc:docMk/>
            <pc:sldMk cId="438690751" sldId="623"/>
            <ac:picMk id="6" creationId="{2E38CB2A-3CAA-DD28-3B17-4199370596AD}"/>
          </ac:picMkLst>
        </pc:picChg>
        <pc:picChg chg="add mod">
          <ac:chgData name="Nivedha N A" userId="48795343-f4b0-4368-b9f1-c6e5f3910d48" providerId="ADAL" clId="{3E51CB64-41DE-4E99-AA61-015D66A9A29C}" dt="2025-09-08T07:18:13.106" v="7418" actId="1076"/>
          <ac:picMkLst>
            <pc:docMk/>
            <pc:sldMk cId="438690751" sldId="623"/>
            <ac:picMk id="7" creationId="{50B61039-5246-2651-C314-60E60DED9AA8}"/>
          </ac:picMkLst>
        </pc:picChg>
        <pc:picChg chg="del">
          <ac:chgData name="Nivedha N A" userId="48795343-f4b0-4368-b9f1-c6e5f3910d48" providerId="ADAL" clId="{3E51CB64-41DE-4E99-AA61-015D66A9A29C}" dt="2025-09-08T07:05:51.889" v="7406" actId="21"/>
          <ac:picMkLst>
            <pc:docMk/>
            <pc:sldMk cId="438690751" sldId="623"/>
            <ac:picMk id="9" creationId="{993BD830-057B-3B1C-923F-7BE1177C5557}"/>
          </ac:picMkLst>
        </pc:picChg>
        <pc:picChg chg="add mod">
          <ac:chgData name="Nivedha N A" userId="48795343-f4b0-4368-b9f1-c6e5f3910d48" providerId="ADAL" clId="{3E51CB64-41DE-4E99-AA61-015D66A9A29C}" dt="2025-09-08T07:18:10.363" v="7417" actId="1076"/>
          <ac:picMkLst>
            <pc:docMk/>
            <pc:sldMk cId="438690751" sldId="623"/>
            <ac:picMk id="12" creationId="{4BCA5A5D-E782-5F13-09A1-87C5A8065FD2}"/>
          </ac:picMkLst>
        </pc:picChg>
      </pc:sldChg>
      <pc:sldChg chg="modSp add del mod">
        <pc:chgData name="Nivedha N A" userId="48795343-f4b0-4368-b9f1-c6e5f3910d48" providerId="ADAL" clId="{3E51CB64-41DE-4E99-AA61-015D66A9A29C}" dt="2025-09-08T07:22:33.961" v="7464" actId="2696"/>
        <pc:sldMkLst>
          <pc:docMk/>
          <pc:sldMk cId="3503099042" sldId="624"/>
        </pc:sldMkLst>
        <pc:spChg chg="mod">
          <ac:chgData name="Nivedha N A" userId="48795343-f4b0-4368-b9f1-c6e5f3910d48" providerId="ADAL" clId="{3E51CB64-41DE-4E99-AA61-015D66A9A29C}" dt="2025-09-08T07:19:41.291" v="7426" actId="20577"/>
          <ac:spMkLst>
            <pc:docMk/>
            <pc:sldMk cId="3503099042" sldId="624"/>
            <ac:spMk id="11" creationId="{EEAD1417-DB75-8FB6-9C4F-8FF3159B92DF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07:22:10.401" v="7463"/>
        <pc:sldMkLst>
          <pc:docMk/>
          <pc:sldMk cId="682366673" sldId="625"/>
        </pc:sldMkLst>
        <pc:spChg chg="mod">
          <ac:chgData name="Nivedha N A" userId="48795343-f4b0-4368-b9f1-c6e5f3910d48" providerId="ADAL" clId="{3E51CB64-41DE-4E99-AA61-015D66A9A29C}" dt="2025-09-08T07:22:10.401" v="7463"/>
          <ac:spMkLst>
            <pc:docMk/>
            <pc:sldMk cId="682366673" sldId="625"/>
            <ac:spMk id="5" creationId="{BC3F1823-AA3A-3C8E-7A04-83D0130C0DB5}"/>
          </ac:spMkLst>
        </pc:spChg>
        <pc:spChg chg="del">
          <ac:chgData name="Nivedha N A" userId="48795343-f4b0-4368-b9f1-c6e5f3910d48" providerId="ADAL" clId="{3E51CB64-41DE-4E99-AA61-015D66A9A29C}" dt="2025-09-08T07:20:25.162" v="7430" actId="21"/>
          <ac:spMkLst>
            <pc:docMk/>
            <pc:sldMk cId="682366673" sldId="625"/>
            <ac:spMk id="6" creationId="{7A5D3F25-042F-F297-C45D-B87DE7357FD5}"/>
          </ac:spMkLst>
        </pc:spChg>
        <pc:spChg chg="del mod">
          <ac:chgData name="Nivedha N A" userId="48795343-f4b0-4368-b9f1-c6e5f3910d48" providerId="ADAL" clId="{3E51CB64-41DE-4E99-AA61-015D66A9A29C}" dt="2025-09-08T07:20:21.292" v="7429" actId="21"/>
          <ac:spMkLst>
            <pc:docMk/>
            <pc:sldMk cId="682366673" sldId="625"/>
            <ac:spMk id="8" creationId="{57B8A830-C67E-E842-C9FC-6B6554EB049D}"/>
          </ac:spMkLst>
        </pc:spChg>
        <pc:spChg chg="add del mod">
          <ac:chgData name="Nivedha N A" userId="48795343-f4b0-4368-b9f1-c6e5f3910d48" providerId="ADAL" clId="{3E51CB64-41DE-4E99-AA61-015D66A9A29C}" dt="2025-09-08T07:20:29.093" v="7431" actId="21"/>
          <ac:spMkLst>
            <pc:docMk/>
            <pc:sldMk cId="682366673" sldId="625"/>
            <ac:spMk id="9" creationId="{495EA855-C675-F3BA-1D42-8ADE552CECE2}"/>
          </ac:spMkLst>
        </pc:spChg>
      </pc:sldChg>
      <pc:sldChg chg="addSp modSp add mod">
        <pc:chgData name="Nivedha N A" userId="48795343-f4b0-4368-b9f1-c6e5f3910d48" providerId="ADAL" clId="{3E51CB64-41DE-4E99-AA61-015D66A9A29C}" dt="2025-09-08T07:36:35.532" v="7588" actId="1076"/>
        <pc:sldMkLst>
          <pc:docMk/>
          <pc:sldMk cId="4067441846" sldId="626"/>
        </pc:sldMkLst>
        <pc:spChg chg="mod">
          <ac:chgData name="Nivedha N A" userId="48795343-f4b0-4368-b9f1-c6e5f3910d48" providerId="ADAL" clId="{3E51CB64-41DE-4E99-AA61-015D66A9A29C}" dt="2025-09-08T07:33:30.672" v="7487" actId="20577"/>
          <ac:spMkLst>
            <pc:docMk/>
            <pc:sldMk cId="4067441846" sldId="626"/>
            <ac:spMk id="2" creationId="{BE2C8FC2-B916-3C7A-FEAF-BC9893F7F56E}"/>
          </ac:spMkLst>
        </pc:spChg>
        <pc:spChg chg="add mod">
          <ac:chgData name="Nivedha N A" userId="48795343-f4b0-4368-b9f1-c6e5f3910d48" providerId="ADAL" clId="{3E51CB64-41DE-4E99-AA61-015D66A9A29C}" dt="2025-09-08T07:33:13.627" v="7479"/>
          <ac:spMkLst>
            <pc:docMk/>
            <pc:sldMk cId="4067441846" sldId="626"/>
            <ac:spMk id="7" creationId="{1E6A09BB-A325-A0E2-2F6C-BF526741A270}"/>
          </ac:spMkLst>
        </pc:spChg>
        <pc:spChg chg="mod">
          <ac:chgData name="Nivedha N A" userId="48795343-f4b0-4368-b9f1-c6e5f3910d48" providerId="ADAL" clId="{3E51CB64-41DE-4E99-AA61-015D66A9A29C}" dt="2025-09-08T07:36:35.532" v="7588" actId="1076"/>
          <ac:spMkLst>
            <pc:docMk/>
            <pc:sldMk cId="4067441846" sldId="626"/>
            <ac:spMk id="11" creationId="{8E226694-50CC-7BCA-36F4-9EEF9AFD9E67}"/>
          </ac:spMkLst>
        </pc:spChg>
        <pc:spChg chg="add mod">
          <ac:chgData name="Nivedha N A" userId="48795343-f4b0-4368-b9f1-c6e5f3910d48" providerId="ADAL" clId="{3E51CB64-41DE-4E99-AA61-015D66A9A29C}" dt="2025-09-08T07:36:27.035" v="7586" actId="1076"/>
          <ac:spMkLst>
            <pc:docMk/>
            <pc:sldMk cId="4067441846" sldId="626"/>
            <ac:spMk id="12" creationId="{B5D7A453-77E2-F9B5-CED8-18CF58F68A1B}"/>
          </ac:spMkLst>
        </pc:spChg>
        <pc:picChg chg="add mod">
          <ac:chgData name="Nivedha N A" userId="48795343-f4b0-4368-b9f1-c6e5f3910d48" providerId="ADAL" clId="{3E51CB64-41DE-4E99-AA61-015D66A9A29C}" dt="2025-09-08T07:36:23.471" v="7585" actId="1076"/>
          <ac:picMkLst>
            <pc:docMk/>
            <pc:sldMk cId="4067441846" sldId="626"/>
            <ac:picMk id="6" creationId="{B627F155-26FC-06F4-816A-6453E12338D4}"/>
          </ac:picMkLst>
        </pc:picChg>
        <pc:picChg chg="add mod">
          <ac:chgData name="Nivedha N A" userId="48795343-f4b0-4368-b9f1-c6e5f3910d48" providerId="ADAL" clId="{3E51CB64-41DE-4E99-AA61-015D66A9A29C}" dt="2025-09-08T07:36:31.646" v="7587" actId="1076"/>
          <ac:picMkLst>
            <pc:docMk/>
            <pc:sldMk cId="4067441846" sldId="626"/>
            <ac:picMk id="9" creationId="{0BF8A8EA-9CC1-C5EE-6A74-73F1C68B15E4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09:22:41.295" v="7635" actId="14100"/>
        <pc:sldMkLst>
          <pc:docMk/>
          <pc:sldMk cId="262833566" sldId="627"/>
        </pc:sldMkLst>
        <pc:spChg chg="mod">
          <ac:chgData name="Nivedha N A" userId="48795343-f4b0-4368-b9f1-c6e5f3910d48" providerId="ADAL" clId="{3E51CB64-41DE-4E99-AA61-015D66A9A29C}" dt="2025-09-08T09:18:16.889" v="7612" actId="1076"/>
          <ac:spMkLst>
            <pc:docMk/>
            <pc:sldMk cId="262833566" sldId="627"/>
            <ac:spMk id="2" creationId="{606D479D-8D13-D01B-2776-2D2CDAAFB7ED}"/>
          </ac:spMkLst>
        </pc:spChg>
        <pc:spChg chg="mod">
          <ac:chgData name="Nivedha N A" userId="48795343-f4b0-4368-b9f1-c6e5f3910d48" providerId="ADAL" clId="{3E51CB64-41DE-4E99-AA61-015D66A9A29C}" dt="2025-09-08T09:20:44.954" v="7630" actId="14100"/>
          <ac:spMkLst>
            <pc:docMk/>
            <pc:sldMk cId="262833566" sldId="627"/>
            <ac:spMk id="7" creationId="{24F95273-B9DB-286A-BE8D-781FCF2C815F}"/>
          </ac:spMkLst>
        </pc:spChg>
        <pc:spChg chg="mod">
          <ac:chgData name="Nivedha N A" userId="48795343-f4b0-4368-b9f1-c6e5f3910d48" providerId="ADAL" clId="{3E51CB64-41DE-4E99-AA61-015D66A9A29C}" dt="2025-09-08T09:21:46.620" v="7632" actId="207"/>
          <ac:spMkLst>
            <pc:docMk/>
            <pc:sldMk cId="262833566" sldId="627"/>
            <ac:spMk id="11" creationId="{48AC777B-EA20-A016-673E-24EC1388C323}"/>
          </ac:spMkLst>
        </pc:spChg>
        <pc:spChg chg="mod">
          <ac:chgData name="Nivedha N A" userId="48795343-f4b0-4368-b9f1-c6e5f3910d48" providerId="ADAL" clId="{3E51CB64-41DE-4E99-AA61-015D66A9A29C}" dt="2025-09-08T09:19:28.652" v="7617" actId="14100"/>
          <ac:spMkLst>
            <pc:docMk/>
            <pc:sldMk cId="262833566" sldId="627"/>
            <ac:spMk id="12" creationId="{4AF8C356-8C99-C95C-DD49-4206B319EB17}"/>
          </ac:spMkLst>
        </pc:spChg>
        <pc:spChg chg="add mod">
          <ac:chgData name="Nivedha N A" userId="48795343-f4b0-4368-b9f1-c6e5f3910d48" providerId="ADAL" clId="{3E51CB64-41DE-4E99-AA61-015D66A9A29C}" dt="2025-09-08T09:20:12.562" v="7622" actId="1076"/>
          <ac:spMkLst>
            <pc:docMk/>
            <pc:sldMk cId="262833566" sldId="627"/>
            <ac:spMk id="15" creationId="{6583825B-7FD6-2609-98DF-3E4DA1D0B929}"/>
          </ac:spMkLst>
        </pc:spChg>
        <pc:spChg chg="add mod">
          <ac:chgData name="Nivedha N A" userId="48795343-f4b0-4368-b9f1-c6e5f3910d48" providerId="ADAL" clId="{3E51CB64-41DE-4E99-AA61-015D66A9A29C}" dt="2025-09-08T09:20:00.380" v="7621" actId="1076"/>
          <ac:spMkLst>
            <pc:docMk/>
            <pc:sldMk cId="262833566" sldId="627"/>
            <ac:spMk id="16" creationId="{51C6F986-8997-196E-20ED-50BB51FB7166}"/>
          </ac:spMkLst>
        </pc:spChg>
        <pc:picChg chg="del mod">
          <ac:chgData name="Nivedha N A" userId="48795343-f4b0-4368-b9f1-c6e5f3910d48" providerId="ADAL" clId="{3E51CB64-41DE-4E99-AA61-015D66A9A29C}" dt="2025-09-08T09:15:37.765" v="7600" actId="21"/>
          <ac:picMkLst>
            <pc:docMk/>
            <pc:sldMk cId="262833566" sldId="627"/>
            <ac:picMk id="6" creationId="{DF5200AE-6FF6-74FF-DBDE-756AC314325F}"/>
          </ac:picMkLst>
        </pc:picChg>
        <pc:picChg chg="add mod">
          <ac:chgData name="Nivedha N A" userId="48795343-f4b0-4368-b9f1-c6e5f3910d48" providerId="ADAL" clId="{3E51CB64-41DE-4E99-AA61-015D66A9A29C}" dt="2025-09-08T09:20:14.866" v="7623" actId="1076"/>
          <ac:picMkLst>
            <pc:docMk/>
            <pc:sldMk cId="262833566" sldId="627"/>
            <ac:picMk id="8" creationId="{EEDE681D-C936-7869-C71C-24EF1A3341F2}"/>
          </ac:picMkLst>
        </pc:picChg>
        <pc:picChg chg="del">
          <ac:chgData name="Nivedha N A" userId="48795343-f4b0-4368-b9f1-c6e5f3910d48" providerId="ADAL" clId="{3E51CB64-41DE-4E99-AA61-015D66A9A29C}" dt="2025-09-08T09:17:11.136" v="7605" actId="21"/>
          <ac:picMkLst>
            <pc:docMk/>
            <pc:sldMk cId="262833566" sldId="627"/>
            <ac:picMk id="9" creationId="{3DE6D757-80EE-7BA4-8826-D4FF797C356D}"/>
          </ac:picMkLst>
        </pc:picChg>
        <pc:picChg chg="add mod">
          <ac:chgData name="Nivedha N A" userId="48795343-f4b0-4368-b9f1-c6e5f3910d48" providerId="ADAL" clId="{3E51CB64-41DE-4E99-AA61-015D66A9A29C}" dt="2025-09-08T09:17:46.289" v="7609" actId="1076"/>
          <ac:picMkLst>
            <pc:docMk/>
            <pc:sldMk cId="262833566" sldId="627"/>
            <ac:picMk id="14" creationId="{F44B44F0-05D7-FC48-C68E-323B39F305E3}"/>
          </ac:picMkLst>
        </pc:picChg>
        <pc:picChg chg="add mod">
          <ac:chgData name="Nivedha N A" userId="48795343-f4b0-4368-b9f1-c6e5f3910d48" providerId="ADAL" clId="{3E51CB64-41DE-4E99-AA61-015D66A9A29C}" dt="2025-09-08T09:22:41.295" v="7635" actId="14100"/>
          <ac:picMkLst>
            <pc:docMk/>
            <pc:sldMk cId="262833566" sldId="627"/>
            <ac:picMk id="18" creationId="{C7A8E023-1672-8FFB-92B2-4D56A4614FC5}"/>
          </ac:picMkLst>
        </pc:picChg>
      </pc:sldChg>
      <pc:sldChg chg="modSp add mod">
        <pc:chgData name="Nivedha N A" userId="48795343-f4b0-4368-b9f1-c6e5f3910d48" providerId="ADAL" clId="{3E51CB64-41DE-4E99-AA61-015D66A9A29C}" dt="2025-09-08T09:23:52.718" v="7644" actId="207"/>
        <pc:sldMkLst>
          <pc:docMk/>
          <pc:sldMk cId="3228269709" sldId="628"/>
        </pc:sldMkLst>
        <pc:spChg chg="mod">
          <ac:chgData name="Nivedha N A" userId="48795343-f4b0-4368-b9f1-c6e5f3910d48" providerId="ADAL" clId="{3E51CB64-41DE-4E99-AA61-015D66A9A29C}" dt="2025-09-08T09:23:52.718" v="7644" actId="207"/>
          <ac:spMkLst>
            <pc:docMk/>
            <pc:sldMk cId="3228269709" sldId="628"/>
            <ac:spMk id="5" creationId="{73253DD4-4571-8FC2-441E-740C051225E8}"/>
          </ac:spMkLst>
        </pc:spChg>
      </pc:sldChg>
      <pc:sldChg chg="addSp modSp add mod">
        <pc:chgData name="Nivedha N A" userId="48795343-f4b0-4368-b9f1-c6e5f3910d48" providerId="ADAL" clId="{3E51CB64-41DE-4E99-AA61-015D66A9A29C}" dt="2025-09-08T10:14:33.184" v="8203" actId="20577"/>
        <pc:sldMkLst>
          <pc:docMk/>
          <pc:sldMk cId="1877202074" sldId="629"/>
        </pc:sldMkLst>
        <pc:spChg chg="mod">
          <ac:chgData name="Nivedha N A" userId="48795343-f4b0-4368-b9f1-c6e5f3910d48" providerId="ADAL" clId="{3E51CB64-41DE-4E99-AA61-015D66A9A29C}" dt="2025-09-08T10:04:16.241" v="8057" actId="20577"/>
          <ac:spMkLst>
            <pc:docMk/>
            <pc:sldMk cId="1877202074" sldId="629"/>
            <ac:spMk id="5" creationId="{41B62C56-9CEC-FB5E-6949-19553E1399AD}"/>
          </ac:spMkLst>
        </pc:spChg>
        <pc:spChg chg="add">
          <ac:chgData name="Nivedha N A" userId="48795343-f4b0-4368-b9f1-c6e5f3910d48" providerId="ADAL" clId="{3E51CB64-41DE-4E99-AA61-015D66A9A29C}" dt="2025-09-08T10:02:51.383" v="8032"/>
          <ac:spMkLst>
            <pc:docMk/>
            <pc:sldMk cId="1877202074" sldId="629"/>
            <ac:spMk id="8" creationId="{79F769A3-3D9D-9E5F-57BA-27BA45F88E6F}"/>
          </ac:spMkLst>
        </pc:spChg>
        <pc:spChg chg="mod">
          <ac:chgData name="Nivedha N A" userId="48795343-f4b0-4368-b9f1-c6e5f3910d48" providerId="ADAL" clId="{3E51CB64-41DE-4E99-AA61-015D66A9A29C}" dt="2025-09-08T10:14:33.184" v="8203" actId="20577"/>
          <ac:spMkLst>
            <pc:docMk/>
            <pc:sldMk cId="1877202074" sldId="629"/>
            <ac:spMk id="11" creationId="{7F9BD304-D463-E596-7464-F48D1041CFF4}"/>
          </ac:spMkLst>
        </pc:spChg>
        <pc:spChg chg="add mod">
          <ac:chgData name="Nivedha N A" userId="48795343-f4b0-4368-b9f1-c6e5f3910d48" providerId="ADAL" clId="{3E51CB64-41DE-4E99-AA61-015D66A9A29C}" dt="2025-09-08T10:12:46.859" v="8187" actId="255"/>
          <ac:spMkLst>
            <pc:docMk/>
            <pc:sldMk cId="1877202074" sldId="629"/>
            <ac:spMk id="13" creationId="{E4939685-1255-3884-BEE5-4D538F1A6C21}"/>
          </ac:spMkLst>
        </pc:spChg>
        <pc:spChg chg="add">
          <ac:chgData name="Nivedha N A" userId="48795343-f4b0-4368-b9f1-c6e5f3910d48" providerId="ADAL" clId="{3E51CB64-41DE-4E99-AA61-015D66A9A29C}" dt="2025-09-08T10:06:27.021" v="8114"/>
          <ac:spMkLst>
            <pc:docMk/>
            <pc:sldMk cId="1877202074" sldId="629"/>
            <ac:spMk id="16" creationId="{898163ED-0BE9-A744-E517-E0CD258CA69B}"/>
          </ac:spMkLst>
        </pc:spChg>
        <pc:picChg chg="add mod">
          <ac:chgData name="Nivedha N A" userId="48795343-f4b0-4368-b9f1-c6e5f3910d48" providerId="ADAL" clId="{3E51CB64-41DE-4E99-AA61-015D66A9A29C}" dt="2025-09-08T09:54:21.400" v="8014" actId="1076"/>
          <ac:picMkLst>
            <pc:docMk/>
            <pc:sldMk cId="1877202074" sldId="629"/>
            <ac:picMk id="7" creationId="{1170F09E-C054-3F10-C792-A89E8890E244}"/>
          </ac:picMkLst>
        </pc:picChg>
        <pc:picChg chg="add mod">
          <ac:chgData name="Nivedha N A" userId="48795343-f4b0-4368-b9f1-c6e5f3910d48" providerId="ADAL" clId="{3E51CB64-41DE-4E99-AA61-015D66A9A29C}" dt="2025-09-08T10:04:07.112" v="8040" actId="1076"/>
          <ac:picMkLst>
            <pc:docMk/>
            <pc:sldMk cId="1877202074" sldId="629"/>
            <ac:picMk id="12" creationId="{60961284-4196-04C4-214B-B23C7C1BD3FE}"/>
          </ac:picMkLst>
        </pc:picChg>
        <pc:picChg chg="add mod">
          <ac:chgData name="Nivedha N A" userId="48795343-f4b0-4368-b9f1-c6e5f3910d48" providerId="ADAL" clId="{3E51CB64-41DE-4E99-AA61-015D66A9A29C}" dt="2025-09-08T10:08:41.374" v="8137" actId="14100"/>
          <ac:picMkLst>
            <pc:docMk/>
            <pc:sldMk cId="1877202074" sldId="629"/>
            <ac:picMk id="15" creationId="{81EE692B-CC04-47A0-231E-202920790249}"/>
          </ac:picMkLst>
        </pc:picChg>
        <pc:picChg chg="add mod">
          <ac:chgData name="Nivedha N A" userId="48795343-f4b0-4368-b9f1-c6e5f3910d48" providerId="ADAL" clId="{3E51CB64-41DE-4E99-AA61-015D66A9A29C}" dt="2025-09-08T10:08:47.423" v="8138" actId="14100"/>
          <ac:picMkLst>
            <pc:docMk/>
            <pc:sldMk cId="1877202074" sldId="629"/>
            <ac:picMk id="18" creationId="{6C104DB5-322D-839C-24E8-10C67FCBB775}"/>
          </ac:picMkLst>
        </pc:picChg>
        <pc:picChg chg="add mod">
          <ac:chgData name="Nivedha N A" userId="48795343-f4b0-4368-b9f1-c6e5f3910d48" providerId="ADAL" clId="{3E51CB64-41DE-4E99-AA61-015D66A9A29C}" dt="2025-09-08T10:10:35.347" v="8161" actId="1076"/>
          <ac:picMkLst>
            <pc:docMk/>
            <pc:sldMk cId="1877202074" sldId="629"/>
            <ac:picMk id="20" creationId="{84BE1E59-B931-096B-F6C3-48767DBCC47B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10:25:31.629" v="8470" actId="1076"/>
        <pc:sldMkLst>
          <pc:docMk/>
          <pc:sldMk cId="1688732546" sldId="630"/>
        </pc:sldMkLst>
        <pc:spChg chg="mod">
          <ac:chgData name="Nivedha N A" userId="48795343-f4b0-4368-b9f1-c6e5f3910d48" providerId="ADAL" clId="{3E51CB64-41DE-4E99-AA61-015D66A9A29C}" dt="2025-09-08T10:16:55.486" v="8297" actId="20577"/>
          <ac:spMkLst>
            <pc:docMk/>
            <pc:sldMk cId="1688732546" sldId="630"/>
            <ac:spMk id="11" creationId="{4E49C9AB-FC67-A35A-A420-D2B7549D5DB7}"/>
          </ac:spMkLst>
        </pc:spChg>
        <pc:spChg chg="mod">
          <ac:chgData name="Nivedha N A" userId="48795343-f4b0-4368-b9f1-c6e5f3910d48" providerId="ADAL" clId="{3E51CB64-41DE-4E99-AA61-015D66A9A29C}" dt="2025-09-08T10:24:46.541" v="8467" actId="20577"/>
          <ac:spMkLst>
            <pc:docMk/>
            <pc:sldMk cId="1688732546" sldId="630"/>
            <ac:spMk id="13" creationId="{CD6A9CDD-613E-A3EA-E8AA-BC0A97387787}"/>
          </ac:spMkLst>
        </pc:spChg>
        <pc:picChg chg="del">
          <ac:chgData name="Nivedha N A" userId="48795343-f4b0-4368-b9f1-c6e5f3910d48" providerId="ADAL" clId="{3E51CB64-41DE-4E99-AA61-015D66A9A29C}" dt="2025-09-08T10:13:46.160" v="8192" actId="21"/>
          <ac:picMkLst>
            <pc:docMk/>
            <pc:sldMk cId="1688732546" sldId="630"/>
            <ac:picMk id="7" creationId="{874E5551-D6A8-5CE0-4D6D-C114DD3302ED}"/>
          </ac:picMkLst>
        </pc:picChg>
        <pc:picChg chg="add mod">
          <ac:chgData name="Nivedha N A" userId="48795343-f4b0-4368-b9f1-c6e5f3910d48" providerId="ADAL" clId="{3E51CB64-41DE-4E99-AA61-015D66A9A29C}" dt="2025-09-08T10:14:34.453" v="8204" actId="1076"/>
          <ac:picMkLst>
            <pc:docMk/>
            <pc:sldMk cId="1688732546" sldId="630"/>
            <ac:picMk id="8" creationId="{25F538D5-FD4D-B10C-C303-650C5EB53B09}"/>
          </ac:picMkLst>
        </pc:picChg>
        <pc:picChg chg="del">
          <ac:chgData name="Nivedha N A" userId="48795343-f4b0-4368-b9f1-c6e5f3910d48" providerId="ADAL" clId="{3E51CB64-41DE-4E99-AA61-015D66A9A29C}" dt="2025-09-08T10:16:15.054" v="8290" actId="21"/>
          <ac:picMkLst>
            <pc:docMk/>
            <pc:sldMk cId="1688732546" sldId="630"/>
            <ac:picMk id="12" creationId="{67312073-B4DF-BD78-8B58-A0BB14D9D100}"/>
          </ac:picMkLst>
        </pc:picChg>
        <pc:picChg chg="add mod">
          <ac:chgData name="Nivedha N A" userId="48795343-f4b0-4368-b9f1-c6e5f3910d48" providerId="ADAL" clId="{3E51CB64-41DE-4E99-AA61-015D66A9A29C}" dt="2025-09-08T10:16:59.327" v="8298" actId="1076"/>
          <ac:picMkLst>
            <pc:docMk/>
            <pc:sldMk cId="1688732546" sldId="630"/>
            <ac:picMk id="14" creationId="{F89A2FAE-2516-1BBA-F67A-0FB477D60813}"/>
          </ac:picMkLst>
        </pc:picChg>
        <pc:picChg chg="del">
          <ac:chgData name="Nivedha N A" userId="48795343-f4b0-4368-b9f1-c6e5f3910d48" providerId="ADAL" clId="{3E51CB64-41DE-4E99-AA61-015D66A9A29C}" dt="2025-09-08T10:19:19.749" v="8344" actId="21"/>
          <ac:picMkLst>
            <pc:docMk/>
            <pc:sldMk cId="1688732546" sldId="630"/>
            <ac:picMk id="15" creationId="{56AEF079-9024-C236-C7C1-CFE7C4ECECFA}"/>
          </ac:picMkLst>
        </pc:picChg>
        <pc:picChg chg="add mod">
          <ac:chgData name="Nivedha N A" userId="48795343-f4b0-4368-b9f1-c6e5f3910d48" providerId="ADAL" clId="{3E51CB64-41DE-4E99-AA61-015D66A9A29C}" dt="2025-09-08T10:25:31.629" v="8470" actId="1076"/>
          <ac:picMkLst>
            <pc:docMk/>
            <pc:sldMk cId="1688732546" sldId="630"/>
            <ac:picMk id="17" creationId="{E66E344E-0636-0953-3DA1-26272389336F}"/>
          </ac:picMkLst>
        </pc:picChg>
        <pc:picChg chg="del">
          <ac:chgData name="Nivedha N A" userId="48795343-f4b0-4368-b9f1-c6e5f3910d48" providerId="ADAL" clId="{3E51CB64-41DE-4E99-AA61-015D66A9A29C}" dt="2025-09-08T10:19:22.756" v="8345" actId="21"/>
          <ac:picMkLst>
            <pc:docMk/>
            <pc:sldMk cId="1688732546" sldId="630"/>
            <ac:picMk id="18" creationId="{6257F8A6-ECB4-AF78-DD16-F5F3F116A96F}"/>
          </ac:picMkLst>
        </pc:picChg>
        <pc:picChg chg="del">
          <ac:chgData name="Nivedha N A" userId="48795343-f4b0-4368-b9f1-c6e5f3910d48" providerId="ADAL" clId="{3E51CB64-41DE-4E99-AA61-015D66A9A29C}" dt="2025-09-08T10:23:07.365" v="8349" actId="21"/>
          <ac:picMkLst>
            <pc:docMk/>
            <pc:sldMk cId="1688732546" sldId="630"/>
            <ac:picMk id="20" creationId="{6661B1A3-FC46-4751-27C8-1BD75A8888AF}"/>
          </ac:picMkLst>
        </pc:picChg>
        <pc:picChg chg="add mod">
          <ac:chgData name="Nivedha N A" userId="48795343-f4b0-4368-b9f1-c6e5f3910d48" providerId="ADAL" clId="{3E51CB64-41DE-4E99-AA61-015D66A9A29C}" dt="2025-09-08T10:25:25.839" v="8469" actId="1076"/>
          <ac:picMkLst>
            <pc:docMk/>
            <pc:sldMk cId="1688732546" sldId="630"/>
            <ac:picMk id="21" creationId="{556C7556-C6B5-62DF-5261-42C94F2883E2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11:21:29.786" v="8616" actId="20577"/>
        <pc:sldMkLst>
          <pc:docMk/>
          <pc:sldMk cId="2749008858" sldId="631"/>
        </pc:sldMkLst>
        <pc:spChg chg="mod">
          <ac:chgData name="Nivedha N A" userId="48795343-f4b0-4368-b9f1-c6e5f3910d48" providerId="ADAL" clId="{3E51CB64-41DE-4E99-AA61-015D66A9A29C}" dt="2025-09-08T11:19:21.267" v="8596" actId="20577"/>
          <ac:spMkLst>
            <pc:docMk/>
            <pc:sldMk cId="2749008858" sldId="631"/>
            <ac:spMk id="11" creationId="{41A4CA75-4BFE-6FDC-0FE7-9F8B4F2BB39B}"/>
          </ac:spMkLst>
        </pc:spChg>
        <pc:spChg chg="mod">
          <ac:chgData name="Nivedha N A" userId="48795343-f4b0-4368-b9f1-c6e5f3910d48" providerId="ADAL" clId="{3E51CB64-41DE-4E99-AA61-015D66A9A29C}" dt="2025-09-08T11:21:29.786" v="8616" actId="20577"/>
          <ac:spMkLst>
            <pc:docMk/>
            <pc:sldMk cId="2749008858" sldId="631"/>
            <ac:spMk id="13" creationId="{E0CF5F1A-591B-E4BE-11E6-D53DB0ED1199}"/>
          </ac:spMkLst>
        </pc:spChg>
        <pc:picChg chg="add mod">
          <ac:chgData name="Nivedha N A" userId="48795343-f4b0-4368-b9f1-c6e5f3910d48" providerId="ADAL" clId="{3E51CB64-41DE-4E99-AA61-015D66A9A29C}" dt="2025-09-08T11:10:59.799" v="8517" actId="1076"/>
          <ac:picMkLst>
            <pc:docMk/>
            <pc:sldMk cId="2749008858" sldId="631"/>
            <ac:picMk id="7" creationId="{B6623567-1CC0-64A5-34EA-BD3C2F378414}"/>
          </ac:picMkLst>
        </pc:picChg>
        <pc:picChg chg="del">
          <ac:chgData name="Nivedha N A" userId="48795343-f4b0-4368-b9f1-c6e5f3910d48" providerId="ADAL" clId="{3E51CB64-41DE-4E99-AA61-015D66A9A29C}" dt="2025-09-08T11:10:25.180" v="8515" actId="21"/>
          <ac:picMkLst>
            <pc:docMk/>
            <pc:sldMk cId="2749008858" sldId="631"/>
            <ac:picMk id="8" creationId="{2C79CE4E-304D-3AD0-1EA6-84EE8B7A2FDF}"/>
          </ac:picMkLst>
        </pc:picChg>
        <pc:picChg chg="add mod">
          <ac:chgData name="Nivedha N A" userId="48795343-f4b0-4368-b9f1-c6e5f3910d48" providerId="ADAL" clId="{3E51CB64-41DE-4E99-AA61-015D66A9A29C}" dt="2025-09-08T11:12:27.528" v="8568" actId="1076"/>
          <ac:picMkLst>
            <pc:docMk/>
            <pc:sldMk cId="2749008858" sldId="631"/>
            <ac:picMk id="12" creationId="{6F5FA63D-C33F-450F-4B10-BE2255B39372}"/>
          </ac:picMkLst>
        </pc:picChg>
        <pc:picChg chg="del">
          <ac:chgData name="Nivedha N A" userId="48795343-f4b0-4368-b9f1-c6e5f3910d48" providerId="ADAL" clId="{3E51CB64-41DE-4E99-AA61-015D66A9A29C}" dt="2025-09-08T11:11:59.991" v="8566" actId="21"/>
          <ac:picMkLst>
            <pc:docMk/>
            <pc:sldMk cId="2749008858" sldId="631"/>
            <ac:picMk id="14" creationId="{A47B2B5E-E886-9927-58B8-5DB2DC99229C}"/>
          </ac:picMkLst>
        </pc:picChg>
        <pc:picChg chg="add mod">
          <ac:chgData name="Nivedha N A" userId="48795343-f4b0-4368-b9f1-c6e5f3910d48" providerId="ADAL" clId="{3E51CB64-41DE-4E99-AA61-015D66A9A29C}" dt="2025-09-08T11:15:59.854" v="8575" actId="1076"/>
          <ac:picMkLst>
            <pc:docMk/>
            <pc:sldMk cId="2749008858" sldId="631"/>
            <ac:picMk id="16" creationId="{46BBA780-A640-31AF-0A02-6E48B97F927D}"/>
          </ac:picMkLst>
        </pc:picChg>
        <pc:picChg chg="del">
          <ac:chgData name="Nivedha N A" userId="48795343-f4b0-4368-b9f1-c6e5f3910d48" providerId="ADAL" clId="{3E51CB64-41DE-4E99-AA61-015D66A9A29C}" dt="2025-09-08T11:20:11.483" v="8604" actId="21"/>
          <ac:picMkLst>
            <pc:docMk/>
            <pc:sldMk cId="2749008858" sldId="631"/>
            <ac:picMk id="17" creationId="{2A7C0CA7-0D26-2D99-749B-E96E18AF6ABE}"/>
          </ac:picMkLst>
        </pc:picChg>
        <pc:picChg chg="add mod">
          <ac:chgData name="Nivedha N A" userId="48795343-f4b0-4368-b9f1-c6e5f3910d48" providerId="ADAL" clId="{3E51CB64-41DE-4E99-AA61-015D66A9A29C}" dt="2025-09-08T11:17:01.069" v="8581" actId="14100"/>
          <ac:picMkLst>
            <pc:docMk/>
            <pc:sldMk cId="2749008858" sldId="631"/>
            <ac:picMk id="19" creationId="{DD02E010-8535-A790-0900-50F255D61D43}"/>
          </ac:picMkLst>
        </pc:picChg>
        <pc:picChg chg="del">
          <ac:chgData name="Nivedha N A" userId="48795343-f4b0-4368-b9f1-c6e5f3910d48" providerId="ADAL" clId="{3E51CB64-41DE-4E99-AA61-015D66A9A29C}" dt="2025-09-08T11:14:06.380" v="8573" actId="21"/>
          <ac:picMkLst>
            <pc:docMk/>
            <pc:sldMk cId="2749008858" sldId="631"/>
            <ac:picMk id="21" creationId="{F91B1ACE-0742-E713-181E-8056451B20ED}"/>
          </ac:picMkLst>
        </pc:picChg>
        <pc:picChg chg="add mod">
          <ac:chgData name="Nivedha N A" userId="48795343-f4b0-4368-b9f1-c6e5f3910d48" providerId="ADAL" clId="{3E51CB64-41DE-4E99-AA61-015D66A9A29C}" dt="2025-09-08T11:21:04.526" v="8607" actId="1076"/>
          <ac:picMkLst>
            <pc:docMk/>
            <pc:sldMk cId="2749008858" sldId="631"/>
            <ac:picMk id="22" creationId="{D9B8FDF3-EB54-5760-720E-E12C3E2F5690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11:26:41.892" v="8832" actId="14100"/>
        <pc:sldMkLst>
          <pc:docMk/>
          <pc:sldMk cId="2294876893" sldId="632"/>
        </pc:sldMkLst>
        <pc:spChg chg="mod">
          <ac:chgData name="Nivedha N A" userId="48795343-f4b0-4368-b9f1-c6e5f3910d48" providerId="ADAL" clId="{3E51CB64-41DE-4E99-AA61-015D66A9A29C}" dt="2025-09-08T11:24:22.295" v="8741" actId="5793"/>
          <ac:spMkLst>
            <pc:docMk/>
            <pc:sldMk cId="2294876893" sldId="632"/>
            <ac:spMk id="11" creationId="{C65D5B3F-40E7-E39F-0511-EAB5BDF6A5D5}"/>
          </ac:spMkLst>
        </pc:spChg>
        <pc:spChg chg="mod">
          <ac:chgData name="Nivedha N A" userId="48795343-f4b0-4368-b9f1-c6e5f3910d48" providerId="ADAL" clId="{3E51CB64-41DE-4E99-AA61-015D66A9A29C}" dt="2025-09-08T11:25:48.654" v="8824" actId="5793"/>
          <ac:spMkLst>
            <pc:docMk/>
            <pc:sldMk cId="2294876893" sldId="632"/>
            <ac:spMk id="13" creationId="{52E52B72-4758-CC8D-D18A-AEC0CE0288B0}"/>
          </ac:spMkLst>
        </pc:spChg>
        <pc:picChg chg="del">
          <ac:chgData name="Nivedha N A" userId="48795343-f4b0-4368-b9f1-c6e5f3910d48" providerId="ADAL" clId="{3E51CB64-41DE-4E99-AA61-015D66A9A29C}" dt="2025-09-08T11:23:16.750" v="8676" actId="21"/>
          <ac:picMkLst>
            <pc:docMk/>
            <pc:sldMk cId="2294876893" sldId="632"/>
            <ac:picMk id="7" creationId="{1063F8EA-4A1E-F657-ED4C-058D456689A1}"/>
          </ac:picMkLst>
        </pc:picChg>
        <pc:picChg chg="add mod">
          <ac:chgData name="Nivedha N A" userId="48795343-f4b0-4368-b9f1-c6e5f3910d48" providerId="ADAL" clId="{3E51CB64-41DE-4E99-AA61-015D66A9A29C}" dt="2025-09-08T11:26:41.892" v="8832" actId="14100"/>
          <ac:picMkLst>
            <pc:docMk/>
            <pc:sldMk cId="2294876893" sldId="632"/>
            <ac:picMk id="8" creationId="{7FEB8C8D-735C-519D-F0FF-BD897F1B23DD}"/>
          </ac:picMkLst>
        </pc:picChg>
        <pc:picChg chg="del">
          <ac:chgData name="Nivedha N A" userId="48795343-f4b0-4368-b9f1-c6e5f3910d48" providerId="ADAL" clId="{3E51CB64-41DE-4E99-AA61-015D66A9A29C}" dt="2025-09-08T11:24:13.684" v="8679" actId="21"/>
          <ac:picMkLst>
            <pc:docMk/>
            <pc:sldMk cId="2294876893" sldId="632"/>
            <ac:picMk id="12" creationId="{001DB371-463D-59FD-3B67-55B6285268B4}"/>
          </ac:picMkLst>
        </pc:picChg>
        <pc:picChg chg="add mod">
          <ac:chgData name="Nivedha N A" userId="48795343-f4b0-4368-b9f1-c6e5f3910d48" providerId="ADAL" clId="{3E51CB64-41DE-4E99-AA61-015D66A9A29C}" dt="2025-09-08T11:26:30.413" v="8830" actId="1076"/>
          <ac:picMkLst>
            <pc:docMk/>
            <pc:sldMk cId="2294876893" sldId="632"/>
            <ac:picMk id="14" creationId="{1AA6E322-39A5-98AB-7A50-25BCAFDEF49D}"/>
          </ac:picMkLst>
        </pc:picChg>
        <pc:picChg chg="del">
          <ac:chgData name="Nivedha N A" userId="48795343-f4b0-4368-b9f1-c6e5f3910d48" providerId="ADAL" clId="{3E51CB64-41DE-4E99-AA61-015D66A9A29C}" dt="2025-09-08T11:24:51.387" v="8798" actId="21"/>
          <ac:picMkLst>
            <pc:docMk/>
            <pc:sldMk cId="2294876893" sldId="632"/>
            <ac:picMk id="16" creationId="{3FE5B899-171B-0166-DC80-20EE18731AF2}"/>
          </ac:picMkLst>
        </pc:picChg>
        <pc:picChg chg="del">
          <ac:chgData name="Nivedha N A" userId="48795343-f4b0-4368-b9f1-c6e5f3910d48" providerId="ADAL" clId="{3E51CB64-41DE-4E99-AA61-015D66A9A29C}" dt="2025-09-08T11:24:48.225" v="8797" actId="21"/>
          <ac:picMkLst>
            <pc:docMk/>
            <pc:sldMk cId="2294876893" sldId="632"/>
            <ac:picMk id="19" creationId="{F09DF09D-EE5E-36CE-38E7-E395484E8BA5}"/>
          </ac:picMkLst>
        </pc:picChg>
        <pc:picChg chg="del">
          <ac:chgData name="Nivedha N A" userId="48795343-f4b0-4368-b9f1-c6e5f3910d48" providerId="ADAL" clId="{3E51CB64-41DE-4E99-AA61-015D66A9A29C}" dt="2025-09-08T11:24:38.155" v="8744" actId="21"/>
          <ac:picMkLst>
            <pc:docMk/>
            <pc:sldMk cId="2294876893" sldId="632"/>
            <ac:picMk id="22" creationId="{60F5B412-7D99-2573-C924-B5128D2B6C04}"/>
          </ac:picMkLst>
        </pc:picChg>
      </pc:sldChg>
      <pc:sldChg chg="modSp add mod">
        <pc:chgData name="Nivedha N A" userId="48795343-f4b0-4368-b9f1-c6e5f3910d48" providerId="ADAL" clId="{3E51CB64-41DE-4E99-AA61-015D66A9A29C}" dt="2025-09-08T11:29:25.335" v="8860" actId="113"/>
        <pc:sldMkLst>
          <pc:docMk/>
          <pc:sldMk cId="949676655" sldId="633"/>
        </pc:sldMkLst>
        <pc:spChg chg="mod">
          <ac:chgData name="Nivedha N A" userId="48795343-f4b0-4368-b9f1-c6e5f3910d48" providerId="ADAL" clId="{3E51CB64-41DE-4E99-AA61-015D66A9A29C}" dt="2025-09-08T11:29:25.335" v="8860" actId="113"/>
          <ac:spMkLst>
            <pc:docMk/>
            <pc:sldMk cId="949676655" sldId="633"/>
            <ac:spMk id="5" creationId="{7592BA40-A5DC-81D8-17F4-66F42D2232D7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12:40:08.592" v="8939" actId="1076"/>
        <pc:sldMkLst>
          <pc:docMk/>
          <pc:sldMk cId="3104783768" sldId="634"/>
        </pc:sldMkLst>
        <pc:spChg chg="mod">
          <ac:chgData name="Nivedha N A" userId="48795343-f4b0-4368-b9f1-c6e5f3910d48" providerId="ADAL" clId="{3E51CB64-41DE-4E99-AA61-015D66A9A29C}" dt="2025-09-08T12:34:43.658" v="8892" actId="20577"/>
          <ac:spMkLst>
            <pc:docMk/>
            <pc:sldMk cId="3104783768" sldId="634"/>
            <ac:spMk id="5" creationId="{E52D6088-3FBC-0DC1-DDF9-C5B13A7AFDE8}"/>
          </ac:spMkLst>
        </pc:spChg>
        <pc:spChg chg="mod">
          <ac:chgData name="Nivedha N A" userId="48795343-f4b0-4368-b9f1-c6e5f3910d48" providerId="ADAL" clId="{3E51CB64-41DE-4E99-AA61-015D66A9A29C}" dt="2025-09-08T12:37:01.598" v="8927" actId="14100"/>
          <ac:spMkLst>
            <pc:docMk/>
            <pc:sldMk cId="3104783768" sldId="634"/>
            <ac:spMk id="8" creationId="{A6EA082C-3335-7A81-A1B2-E4762C5EA617}"/>
          </ac:spMkLst>
        </pc:spChg>
        <pc:picChg chg="add del mod">
          <ac:chgData name="Nivedha N A" userId="48795343-f4b0-4368-b9f1-c6e5f3910d48" providerId="ADAL" clId="{3E51CB64-41DE-4E99-AA61-015D66A9A29C}" dt="2025-09-08T12:40:04.507" v="8938" actId="21"/>
          <ac:picMkLst>
            <pc:docMk/>
            <pc:sldMk cId="3104783768" sldId="634"/>
            <ac:picMk id="7" creationId="{51F7CB5F-936E-15D3-8FE6-128B329F12FD}"/>
          </ac:picMkLst>
        </pc:picChg>
        <pc:picChg chg="add mod">
          <ac:chgData name="Nivedha N A" userId="48795343-f4b0-4368-b9f1-c6e5f3910d48" providerId="ADAL" clId="{3E51CB64-41DE-4E99-AA61-015D66A9A29C}" dt="2025-09-08T12:40:08.592" v="8939" actId="1076"/>
          <ac:picMkLst>
            <pc:docMk/>
            <pc:sldMk cId="3104783768" sldId="634"/>
            <ac:picMk id="10" creationId="{817D4A34-7D94-721A-187D-2F96C8E82FF3}"/>
          </ac:picMkLst>
        </pc:picChg>
      </pc:sldChg>
      <pc:sldChg chg="delSp modSp add del mod">
        <pc:chgData name="Nivedha N A" userId="48795343-f4b0-4368-b9f1-c6e5f3910d48" providerId="ADAL" clId="{3E51CB64-41DE-4E99-AA61-015D66A9A29C}" dt="2025-09-08T12:47:45.436" v="8941" actId="2696"/>
        <pc:sldMkLst>
          <pc:docMk/>
          <pc:sldMk cId="1666222773" sldId="635"/>
        </pc:sldMkLst>
        <pc:spChg chg="mod">
          <ac:chgData name="Nivedha N A" userId="48795343-f4b0-4368-b9f1-c6e5f3910d48" providerId="ADAL" clId="{3E51CB64-41DE-4E99-AA61-015D66A9A29C}" dt="2025-09-08T12:37:57.063" v="8932"/>
          <ac:spMkLst>
            <pc:docMk/>
            <pc:sldMk cId="1666222773" sldId="635"/>
            <ac:spMk id="2" creationId="{E4ED8C11-9A2E-2865-ACE3-E28EFA49B762}"/>
          </ac:spMkLst>
        </pc:spChg>
        <pc:picChg chg="del">
          <ac:chgData name="Nivedha N A" userId="48795343-f4b0-4368-b9f1-c6e5f3910d48" providerId="ADAL" clId="{3E51CB64-41DE-4E99-AA61-015D66A9A29C}" dt="2025-09-08T12:38:03.737" v="8933" actId="21"/>
          <ac:picMkLst>
            <pc:docMk/>
            <pc:sldMk cId="1666222773" sldId="635"/>
            <ac:picMk id="7" creationId="{63AA88CE-9025-EFB7-1304-922A2007BDBB}"/>
          </ac:picMkLst>
        </pc:picChg>
      </pc:sldChg>
      <pc:sldChg chg="addSp delSp modSp add del mod modClrScheme chgLayout">
        <pc:chgData name="Nivedha N A" userId="48795343-f4b0-4368-b9f1-c6e5f3910d48" providerId="ADAL" clId="{3E51CB64-41DE-4E99-AA61-015D66A9A29C}" dt="2025-09-08T14:11:54.677" v="9163" actId="2696"/>
        <pc:sldMkLst>
          <pc:docMk/>
          <pc:sldMk cId="2683592134" sldId="636"/>
        </pc:sldMkLst>
        <pc:spChg chg="mod ord">
          <ac:chgData name="Nivedha N A" userId="48795343-f4b0-4368-b9f1-c6e5f3910d48" providerId="ADAL" clId="{3E51CB64-41DE-4E99-AA61-015D66A9A29C}" dt="2025-09-08T12:48:52.899" v="8969" actId="26606"/>
          <ac:spMkLst>
            <pc:docMk/>
            <pc:sldMk cId="2683592134" sldId="636"/>
            <ac:spMk id="2" creationId="{59094AC8-16FE-4C4C-F2F5-28A564855961}"/>
          </ac:spMkLst>
        </pc:spChg>
        <pc:spChg chg="mod">
          <ac:chgData name="Nivedha N A" userId="48795343-f4b0-4368-b9f1-c6e5f3910d48" providerId="ADAL" clId="{3E51CB64-41DE-4E99-AA61-015D66A9A29C}" dt="2025-09-08T12:48:52.899" v="8969" actId="26606"/>
          <ac:spMkLst>
            <pc:docMk/>
            <pc:sldMk cId="2683592134" sldId="636"/>
            <ac:spMk id="3" creationId="{8AEECEDD-E7B6-7769-0EAC-42EBE4A5B5BD}"/>
          </ac:spMkLst>
        </pc:spChg>
        <pc:spChg chg="mod">
          <ac:chgData name="Nivedha N A" userId="48795343-f4b0-4368-b9f1-c6e5f3910d48" providerId="ADAL" clId="{3E51CB64-41DE-4E99-AA61-015D66A9A29C}" dt="2025-09-08T12:48:52.899" v="8969" actId="26606"/>
          <ac:spMkLst>
            <pc:docMk/>
            <pc:sldMk cId="2683592134" sldId="636"/>
            <ac:spMk id="4" creationId="{ACD23312-9065-4620-FDA4-8ADFF59A9855}"/>
          </ac:spMkLst>
        </pc:spChg>
        <pc:spChg chg="add">
          <ac:chgData name="Nivedha N A" userId="48795343-f4b0-4368-b9f1-c6e5f3910d48" providerId="ADAL" clId="{3E51CB64-41DE-4E99-AA61-015D66A9A29C}" dt="2025-09-08T13:15:01.256" v="8970"/>
          <ac:spMkLst>
            <pc:docMk/>
            <pc:sldMk cId="2683592134" sldId="636"/>
            <ac:spMk id="5" creationId="{F069D2A2-FD14-82D2-F1D8-DAB7AA44123E}"/>
          </ac:spMkLst>
        </pc:spChg>
        <pc:spChg chg="add del mod">
          <ac:chgData name="Nivedha N A" userId="48795343-f4b0-4368-b9f1-c6e5f3910d48" providerId="ADAL" clId="{3E51CB64-41DE-4E99-AA61-015D66A9A29C}" dt="2025-09-08T14:09:25.343" v="9148" actId="21"/>
          <ac:spMkLst>
            <pc:docMk/>
            <pc:sldMk cId="2683592134" sldId="636"/>
            <ac:spMk id="6" creationId="{FCCB4826-E81A-7EE4-0782-1600E80CCAFC}"/>
          </ac:spMkLst>
        </pc:spChg>
        <pc:spChg chg="add">
          <ac:chgData name="Nivedha N A" userId="48795343-f4b0-4368-b9f1-c6e5f3910d48" providerId="ADAL" clId="{3E51CB64-41DE-4E99-AA61-015D66A9A29C}" dt="2025-09-08T13:17:36.516" v="9122"/>
          <ac:spMkLst>
            <pc:docMk/>
            <pc:sldMk cId="2683592134" sldId="636"/>
            <ac:spMk id="7" creationId="{4EF52A8C-030B-5881-812C-19FE229BD58A}"/>
          </ac:spMkLst>
        </pc:spChg>
        <pc:spChg chg="add del mod">
          <ac:chgData name="Nivedha N A" userId="48795343-f4b0-4368-b9f1-c6e5f3910d48" providerId="ADAL" clId="{3E51CB64-41DE-4E99-AA61-015D66A9A29C}" dt="2025-09-08T13:15:47.305" v="9013" actId="21"/>
          <ac:spMkLst>
            <pc:docMk/>
            <pc:sldMk cId="2683592134" sldId="636"/>
            <ac:spMk id="3079" creationId="{3B423884-A778-4197-2F0E-3C8CE08F306C}"/>
          </ac:spMkLst>
        </pc:spChg>
        <pc:picChg chg="add mod">
          <ac:chgData name="Nivedha N A" userId="48795343-f4b0-4368-b9f1-c6e5f3910d48" providerId="ADAL" clId="{3E51CB64-41DE-4E99-AA61-015D66A9A29C}" dt="2025-09-08T14:10:12.223" v="9152" actId="1076"/>
          <ac:picMkLst>
            <pc:docMk/>
            <pc:sldMk cId="2683592134" sldId="636"/>
            <ac:picMk id="9" creationId="{411C52E0-50A7-65CC-E346-7517DE568BD3}"/>
          </ac:picMkLst>
        </pc:picChg>
        <pc:picChg chg="add mod ord">
          <ac:chgData name="Nivedha N A" userId="48795343-f4b0-4368-b9f1-c6e5f3910d48" providerId="ADAL" clId="{3E51CB64-41DE-4E99-AA61-015D66A9A29C}" dt="2025-09-08T12:48:52.899" v="8969" actId="26606"/>
          <ac:picMkLst>
            <pc:docMk/>
            <pc:sldMk cId="2683592134" sldId="636"/>
            <ac:picMk id="3074" creationId="{10A52713-216E-9F17-71CD-C4CF1AC01E80}"/>
          </ac:picMkLst>
        </pc:picChg>
      </pc:sldChg>
      <pc:sldChg chg="addSp delSp modSp add mod ord">
        <pc:chgData name="Nivedha N A" userId="48795343-f4b0-4368-b9f1-c6e5f3910d48" providerId="ADAL" clId="{3E51CB64-41DE-4E99-AA61-015D66A9A29C}" dt="2025-09-08T14:11:46.711" v="9162" actId="1076"/>
        <pc:sldMkLst>
          <pc:docMk/>
          <pc:sldMk cId="3262752353" sldId="637"/>
        </pc:sldMkLst>
        <pc:spChg chg="mod">
          <ac:chgData name="Nivedha N A" userId="48795343-f4b0-4368-b9f1-c6e5f3910d48" providerId="ADAL" clId="{3E51CB64-41DE-4E99-AA61-015D66A9A29C}" dt="2025-09-08T14:11:42.866" v="9161"/>
          <ac:spMkLst>
            <pc:docMk/>
            <pc:sldMk cId="3262752353" sldId="637"/>
            <ac:spMk id="2" creationId="{84C2CAFA-0998-ED48-B467-FAE3AFC4FD5F}"/>
          </ac:spMkLst>
        </pc:spChg>
        <pc:spChg chg="del">
          <ac:chgData name="Nivedha N A" userId="48795343-f4b0-4368-b9f1-c6e5f3910d48" providerId="ADAL" clId="{3E51CB64-41DE-4E99-AA61-015D66A9A29C}" dt="2025-09-08T14:11:13.665" v="9157" actId="21"/>
          <ac:spMkLst>
            <pc:docMk/>
            <pc:sldMk cId="3262752353" sldId="637"/>
            <ac:spMk id="14" creationId="{E0FF15D7-0515-03B7-5B16-326938FBF4EC}"/>
          </ac:spMkLst>
        </pc:spChg>
        <pc:picChg chg="add mod">
          <ac:chgData name="Nivedha N A" userId="48795343-f4b0-4368-b9f1-c6e5f3910d48" providerId="ADAL" clId="{3E51CB64-41DE-4E99-AA61-015D66A9A29C}" dt="2025-09-08T14:11:46.711" v="9162" actId="1076"/>
          <ac:picMkLst>
            <pc:docMk/>
            <pc:sldMk cId="3262752353" sldId="637"/>
            <ac:picMk id="5" creationId="{F1F657B8-07A5-D205-A647-2CFFC46F49C5}"/>
          </ac:picMkLst>
        </pc:picChg>
        <pc:picChg chg="add mod">
          <ac:chgData name="Nivedha N A" userId="48795343-f4b0-4368-b9f1-c6e5f3910d48" providerId="ADAL" clId="{3E51CB64-41DE-4E99-AA61-015D66A9A29C}" dt="2025-09-08T14:11:32.047" v="9160" actId="1076"/>
          <ac:picMkLst>
            <pc:docMk/>
            <pc:sldMk cId="3262752353" sldId="637"/>
            <ac:picMk id="6" creationId="{0C132E9F-0E93-2437-DEF9-B9B41FBE15B3}"/>
          </ac:picMkLst>
        </pc:picChg>
        <pc:picChg chg="del">
          <ac:chgData name="Nivedha N A" userId="48795343-f4b0-4368-b9f1-c6e5f3910d48" providerId="ADAL" clId="{3E51CB64-41DE-4E99-AA61-015D66A9A29C}" dt="2025-09-08T14:11:26.434" v="9159" actId="21"/>
          <ac:picMkLst>
            <pc:docMk/>
            <pc:sldMk cId="3262752353" sldId="637"/>
            <ac:picMk id="11" creationId="{798BE296-639D-0913-FF14-2BD9B53D7992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8T14:18:54.796" v="9464" actId="1076"/>
        <pc:sldMkLst>
          <pc:docMk/>
          <pc:sldMk cId="270885347" sldId="638"/>
        </pc:sldMkLst>
        <pc:spChg chg="mod">
          <ac:chgData name="Nivedha N A" userId="48795343-f4b0-4368-b9f1-c6e5f3910d48" providerId="ADAL" clId="{3E51CB64-41DE-4E99-AA61-015D66A9A29C}" dt="2025-09-08T14:13:54.052" v="9198" actId="20577"/>
          <ac:spMkLst>
            <pc:docMk/>
            <pc:sldMk cId="270885347" sldId="638"/>
            <ac:spMk id="2" creationId="{112A7DF6-689E-CC64-68FC-F89834E1FEE8}"/>
          </ac:spMkLst>
        </pc:spChg>
        <pc:spChg chg="add mod">
          <ac:chgData name="Nivedha N A" userId="48795343-f4b0-4368-b9f1-c6e5f3910d48" providerId="ADAL" clId="{3E51CB64-41DE-4E99-AA61-015D66A9A29C}" dt="2025-09-08T14:18:54.796" v="9464" actId="1076"/>
          <ac:spMkLst>
            <pc:docMk/>
            <pc:sldMk cId="270885347" sldId="638"/>
            <ac:spMk id="8" creationId="{F508D5E6-CF54-DB54-CC08-3B04F1476351}"/>
          </ac:spMkLst>
        </pc:spChg>
        <pc:picChg chg="del">
          <ac:chgData name="Nivedha N A" userId="48795343-f4b0-4368-b9f1-c6e5f3910d48" providerId="ADAL" clId="{3E51CB64-41DE-4E99-AA61-015D66A9A29C}" dt="2025-09-08T14:13:58.995" v="9199" actId="21"/>
          <ac:picMkLst>
            <pc:docMk/>
            <pc:sldMk cId="270885347" sldId="638"/>
            <ac:picMk id="5" creationId="{62043671-87BB-26A6-7CFE-71E72B8124C6}"/>
          </ac:picMkLst>
        </pc:picChg>
        <pc:picChg chg="del">
          <ac:chgData name="Nivedha N A" userId="48795343-f4b0-4368-b9f1-c6e5f3910d48" providerId="ADAL" clId="{3E51CB64-41DE-4E99-AA61-015D66A9A29C}" dt="2025-09-08T14:16:38.233" v="9206" actId="21"/>
          <ac:picMkLst>
            <pc:docMk/>
            <pc:sldMk cId="270885347" sldId="638"/>
            <ac:picMk id="6" creationId="{AD09763B-5F53-9C0B-B903-67A786042F84}"/>
          </ac:picMkLst>
        </pc:picChg>
        <pc:picChg chg="add del mod">
          <ac:chgData name="Nivedha N A" userId="48795343-f4b0-4368-b9f1-c6e5f3910d48" providerId="ADAL" clId="{3E51CB64-41DE-4E99-AA61-015D66A9A29C}" dt="2025-09-08T14:14:46.627" v="9202" actId="21"/>
          <ac:picMkLst>
            <pc:docMk/>
            <pc:sldMk cId="270885347" sldId="638"/>
            <ac:picMk id="7" creationId="{62043671-87BB-26A6-7CFE-71E72B8124C6}"/>
          </ac:picMkLst>
        </pc:picChg>
        <pc:picChg chg="add mod">
          <ac:chgData name="Nivedha N A" userId="48795343-f4b0-4368-b9f1-c6e5f3910d48" providerId="ADAL" clId="{3E51CB64-41DE-4E99-AA61-015D66A9A29C}" dt="2025-09-08T14:18:54.397" v="9463" actId="1076"/>
          <ac:picMkLst>
            <pc:docMk/>
            <pc:sldMk cId="270885347" sldId="638"/>
            <ac:picMk id="10" creationId="{7014A6C7-BB51-0675-65EA-7D54C573309D}"/>
          </ac:picMkLst>
        </pc:picChg>
      </pc:sldChg>
      <pc:sldChg chg="modSp add mod">
        <pc:chgData name="Nivedha N A" userId="48795343-f4b0-4368-b9f1-c6e5f3910d48" providerId="ADAL" clId="{3E51CB64-41DE-4E99-AA61-015D66A9A29C}" dt="2025-09-08T14:21:31.626" v="9475" actId="120"/>
        <pc:sldMkLst>
          <pc:docMk/>
          <pc:sldMk cId="544723319" sldId="639"/>
        </pc:sldMkLst>
        <pc:spChg chg="mod">
          <ac:chgData name="Nivedha N A" userId="48795343-f4b0-4368-b9f1-c6e5f3910d48" providerId="ADAL" clId="{3E51CB64-41DE-4E99-AA61-015D66A9A29C}" dt="2025-09-08T14:21:31.626" v="9475" actId="120"/>
          <ac:spMkLst>
            <pc:docMk/>
            <pc:sldMk cId="544723319" sldId="639"/>
            <ac:spMk id="4" creationId="{7AAD1A6E-E19F-868E-2E7B-2F871CF0AA5D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8T14:24:39.717" v="9503" actId="20577"/>
        <pc:sldMkLst>
          <pc:docMk/>
          <pc:sldMk cId="430952906" sldId="640"/>
        </pc:sldMkLst>
        <pc:spChg chg="mod">
          <ac:chgData name="Nivedha N A" userId="48795343-f4b0-4368-b9f1-c6e5f3910d48" providerId="ADAL" clId="{3E51CB64-41DE-4E99-AA61-015D66A9A29C}" dt="2025-09-08T14:22:49.947" v="9477"/>
          <ac:spMkLst>
            <pc:docMk/>
            <pc:sldMk cId="430952906" sldId="640"/>
            <ac:spMk id="5" creationId="{D7323112-CE58-04E6-5877-FDA525ADD9F8}"/>
          </ac:spMkLst>
        </pc:spChg>
        <pc:spChg chg="mod">
          <ac:chgData name="Nivedha N A" userId="48795343-f4b0-4368-b9f1-c6e5f3910d48" providerId="ADAL" clId="{3E51CB64-41DE-4E99-AA61-015D66A9A29C}" dt="2025-09-08T14:24:39.717" v="9503" actId="20577"/>
          <ac:spMkLst>
            <pc:docMk/>
            <pc:sldMk cId="430952906" sldId="640"/>
            <ac:spMk id="8" creationId="{6A863D29-6C8A-BCD8-3577-0F401E027CAE}"/>
          </ac:spMkLst>
        </pc:spChg>
        <pc:spChg chg="add">
          <ac:chgData name="Nivedha N A" userId="48795343-f4b0-4368-b9f1-c6e5f3910d48" providerId="ADAL" clId="{3E51CB64-41DE-4E99-AA61-015D66A9A29C}" dt="2025-09-08T14:24:18.525" v="9498"/>
          <ac:spMkLst>
            <pc:docMk/>
            <pc:sldMk cId="430952906" sldId="640"/>
            <ac:spMk id="9" creationId="{E55929AB-3DAF-7FBF-C3BF-36417239BD38}"/>
          </ac:spMkLst>
        </pc:spChg>
        <pc:spChg chg="add mod">
          <ac:chgData name="Nivedha N A" userId="48795343-f4b0-4368-b9f1-c6e5f3910d48" providerId="ADAL" clId="{3E51CB64-41DE-4E99-AA61-015D66A9A29C}" dt="2025-09-08T14:24:21.101" v="9500"/>
          <ac:spMkLst>
            <pc:docMk/>
            <pc:sldMk cId="430952906" sldId="640"/>
            <ac:spMk id="11" creationId="{7769DC95-E30C-7BA7-A207-A6B61EC867A2}"/>
          </ac:spMkLst>
        </pc:spChg>
        <pc:picChg chg="add mod">
          <ac:chgData name="Nivedha N A" userId="48795343-f4b0-4368-b9f1-c6e5f3910d48" providerId="ADAL" clId="{3E51CB64-41DE-4E99-AA61-015D66A9A29C}" dt="2025-09-08T14:23:58.378" v="9491" actId="1076"/>
          <ac:picMkLst>
            <pc:docMk/>
            <pc:sldMk cId="430952906" sldId="640"/>
            <ac:picMk id="7" creationId="{5FB09856-7FCA-4DE3-CED7-3C4A21B2A344}"/>
          </ac:picMkLst>
        </pc:picChg>
        <pc:picChg chg="del">
          <ac:chgData name="Nivedha N A" userId="48795343-f4b0-4368-b9f1-c6e5f3910d48" providerId="ADAL" clId="{3E51CB64-41DE-4E99-AA61-015D66A9A29C}" dt="2025-09-08T14:23:54.732" v="9490" actId="21"/>
          <ac:picMkLst>
            <pc:docMk/>
            <pc:sldMk cId="430952906" sldId="640"/>
            <ac:picMk id="10" creationId="{140F2EB8-EF35-5BBC-2A4F-D30BE4465AE4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9T05:14:45.282" v="9666" actId="1076"/>
        <pc:sldMkLst>
          <pc:docMk/>
          <pc:sldMk cId="3700266237" sldId="641"/>
        </pc:sldMkLst>
        <pc:spChg chg="mod">
          <ac:chgData name="Nivedha N A" userId="48795343-f4b0-4368-b9f1-c6e5f3910d48" providerId="ADAL" clId="{3E51CB64-41DE-4E99-AA61-015D66A9A29C}" dt="2025-09-09T05:12:40.706" v="9505"/>
          <ac:spMkLst>
            <pc:docMk/>
            <pc:sldMk cId="3700266237" sldId="641"/>
            <ac:spMk id="5" creationId="{69EB3442-18D9-E6CF-83B3-23B66F9D7B98}"/>
          </ac:spMkLst>
        </pc:spChg>
        <pc:spChg chg="mod">
          <ac:chgData name="Nivedha N A" userId="48795343-f4b0-4368-b9f1-c6e5f3910d48" providerId="ADAL" clId="{3E51CB64-41DE-4E99-AA61-015D66A9A29C}" dt="2025-09-09T05:14:40.544" v="9665"/>
          <ac:spMkLst>
            <pc:docMk/>
            <pc:sldMk cId="3700266237" sldId="641"/>
            <ac:spMk id="8" creationId="{53F002FC-06A7-46A4-ED95-9C209CF25208}"/>
          </ac:spMkLst>
        </pc:spChg>
        <pc:picChg chg="del">
          <ac:chgData name="Nivedha N A" userId="48795343-f4b0-4368-b9f1-c6e5f3910d48" providerId="ADAL" clId="{3E51CB64-41DE-4E99-AA61-015D66A9A29C}" dt="2025-09-09T05:13:19.512" v="9507" actId="21"/>
          <ac:picMkLst>
            <pc:docMk/>
            <pc:sldMk cId="3700266237" sldId="641"/>
            <ac:picMk id="7" creationId="{778E17BA-DD86-7289-CBF1-F36EB011EEC0}"/>
          </ac:picMkLst>
        </pc:picChg>
        <pc:picChg chg="add mod">
          <ac:chgData name="Nivedha N A" userId="48795343-f4b0-4368-b9f1-c6e5f3910d48" providerId="ADAL" clId="{3E51CB64-41DE-4E99-AA61-015D66A9A29C}" dt="2025-09-09T05:14:45.282" v="9666" actId="1076"/>
          <ac:picMkLst>
            <pc:docMk/>
            <pc:sldMk cId="3700266237" sldId="641"/>
            <ac:picMk id="9" creationId="{FE46E5DF-116F-F3CC-D365-9FA4805AE41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9T05:21:38.287" v="9730" actId="20577"/>
        <pc:sldMkLst>
          <pc:docMk/>
          <pc:sldMk cId="3944282946" sldId="642"/>
        </pc:sldMkLst>
        <pc:spChg chg="mod">
          <ac:chgData name="Nivedha N A" userId="48795343-f4b0-4368-b9f1-c6e5f3910d48" providerId="ADAL" clId="{3E51CB64-41DE-4E99-AA61-015D66A9A29C}" dt="2025-09-09T05:21:32.785" v="9728" actId="113"/>
          <ac:spMkLst>
            <pc:docMk/>
            <pc:sldMk cId="3944282946" sldId="642"/>
            <ac:spMk id="5" creationId="{B32F0865-6921-D0CD-7BF5-CC2FC256A0B1}"/>
          </ac:spMkLst>
        </pc:spChg>
        <pc:spChg chg="mod">
          <ac:chgData name="Nivedha N A" userId="48795343-f4b0-4368-b9f1-c6e5f3910d48" providerId="ADAL" clId="{3E51CB64-41DE-4E99-AA61-015D66A9A29C}" dt="2025-09-09T05:21:38.287" v="9730" actId="20577"/>
          <ac:spMkLst>
            <pc:docMk/>
            <pc:sldMk cId="3944282946" sldId="642"/>
            <ac:spMk id="8" creationId="{ECED5FAE-16E4-9A3B-17D5-F6119D9D0F12}"/>
          </ac:spMkLst>
        </pc:spChg>
        <pc:picChg chg="add mod">
          <ac:chgData name="Nivedha N A" userId="48795343-f4b0-4368-b9f1-c6e5f3910d48" providerId="ADAL" clId="{3E51CB64-41DE-4E99-AA61-015D66A9A29C}" dt="2025-09-09T05:21:26.186" v="9727" actId="14100"/>
          <ac:picMkLst>
            <pc:docMk/>
            <pc:sldMk cId="3944282946" sldId="642"/>
            <ac:picMk id="7" creationId="{B5330241-1374-3137-EE0E-5FAE617CDBE5}"/>
          </ac:picMkLst>
        </pc:picChg>
        <pc:picChg chg="del mod">
          <ac:chgData name="Nivedha N A" userId="48795343-f4b0-4368-b9f1-c6e5f3910d48" providerId="ADAL" clId="{3E51CB64-41DE-4E99-AA61-015D66A9A29C}" dt="2025-09-09T05:17:24.553" v="9681" actId="21"/>
          <ac:picMkLst>
            <pc:docMk/>
            <pc:sldMk cId="3944282946" sldId="642"/>
            <ac:picMk id="9" creationId="{A6038CF3-68E9-66CF-DB4D-3EA1299B4BF6}"/>
          </ac:picMkLst>
        </pc:picChg>
      </pc:sldChg>
      <pc:sldMasterChg chg="delSldLayout">
        <pc:chgData name="Nivedha N A" userId="48795343-f4b0-4368-b9f1-c6e5f3910d48" providerId="ADAL" clId="{3E51CB64-41DE-4E99-AA61-015D66A9A29C}" dt="2025-09-02T13:54:55.730" v="3525" actId="2696"/>
        <pc:sldMasterMkLst>
          <pc:docMk/>
          <pc:sldMasterMk cId="901074324" sldId="2147483660"/>
        </pc:sldMasterMkLst>
        <pc:sldLayoutChg chg="del">
          <pc:chgData name="Nivedha N A" userId="48795343-f4b0-4368-b9f1-c6e5f3910d48" providerId="ADAL" clId="{3E51CB64-41DE-4E99-AA61-015D66A9A29C}" dt="2025-09-02T13:54:55.730" v="3525" actId="2696"/>
          <pc:sldLayoutMkLst>
            <pc:docMk/>
            <pc:sldMasterMk cId="901074324" sldId="2147483660"/>
            <pc:sldLayoutMk cId="1061102630" sldId="214748378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2AD108A-B93D-476C-97D1-532FA7C820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310D62-412C-410A-AAA0-4E5D49329F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174857-E93A-404B-BD8C-92A5C3CF863C}" type="datetimeFigureOut">
              <a:rPr lang="de-DE" smtClean="0">
                <a:latin typeface="Segoe UI" panose="020B0502040204020203" pitchFamily="34" charset="0"/>
              </a:rPr>
              <a:t>07.09.2025</a:t>
            </a:fld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392DAE0-2311-4972-84AD-6A347CDE0EC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1FF86D-3363-45E1-9048-5290E10CC3B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B4E8B-BF1F-423A-AB25-E744821B17F8}" type="slidenum">
              <a:rPr lang="de-DE" smtClean="0">
                <a:latin typeface="Segoe UI" panose="020B0502040204020203" pitchFamily="34" charset="0"/>
              </a:rPr>
              <a:t>‹#›</a:t>
            </a:fld>
            <a:endParaRPr lang="de-DE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7093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B0D8E98B-53F8-46DC-81BC-9BFFDEE194FB}" type="datetimeFigureOut">
              <a:rPr lang="en-US" noProof="0" smtClean="0"/>
              <a:pPr/>
              <a:t>9/7/2025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630237"/>
            <a:ext cx="5483225" cy="30861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3887785"/>
            <a:ext cx="5486400" cy="462597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First level, Segoe UI, 12p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7CBF4CD1-0CF9-4B7D-A16D-4B6EB45F6A4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07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62000" indent="-162000" algn="l" defTabSz="914400" rtl="0" eaLnBrk="1" latinLnBrk="0" hangingPunct="1">
      <a:buClr>
        <a:schemeClr val="accent1"/>
      </a:buClr>
      <a:buSzPct val="100000"/>
      <a:buFont typeface="Wingdings" panose="05000000000000000000" pitchFamily="2" charset="2"/>
      <a:buChar char="§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522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90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458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926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0110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8850B-A562-D8B2-CEA4-3847D50A0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51CEE87-4B9F-1381-95F0-A0A5994F7E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B58230-692A-7827-ACFA-0D9A813F1B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897188-0ECC-56ED-9DC1-BA1A88F61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3485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686C6-FB94-F49C-C202-097CA67D7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42015E-8FAE-7DAC-BF0E-3E25F2A9F5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AD9A05F-6C33-26DC-BA88-0A341E5F2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3EF2B-0F47-9108-09FA-61F5778D79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9697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06844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CB2AF3-7587-3829-601C-2D40A399C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C50F3A1-CD98-244B-0448-B0777797D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0A94CA3-FF64-21FC-34A4-3D80D6639A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276ABD-C3B1-1A23-41F7-000F2314C9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73883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19671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7BAC8C-39D9-0D22-4E08-663672C30E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25F522D-996A-FFF6-CF92-26E921846E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058497F-B0BA-3487-5F1C-E9BA6B0832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35A63A1-A971-6FC9-88A5-C74FA72251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10691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0E625-63BD-C39B-B76A-90B5BD89F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86C3E36-EC68-D867-11EB-18E4EF426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AD596FA-2622-3AD5-F3E2-5E761DA424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D59A9E-29F0-1345-6DDE-E0600F8867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66868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88B3F3-0214-DE18-1C5D-21804C5766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5064FBD-E032-962D-111A-E70ED33A47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C68F4D1-4B7E-20EF-6EB2-386D3DA08B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BE0895-755A-4449-925A-972495C6B4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90559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E6051E-ABD4-E80B-131E-F93DE90AC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6285948-564C-0F19-E4CE-B0A138B1B3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7CD8900-D9DE-360B-D495-48F7A9D2EE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857193-580C-0FA6-3ADE-5304E70832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65086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42C3B-09E6-17E4-414B-CD7FC309DD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C66C0ED-B769-918A-754E-DF0AEEA0BB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D90C322-3FAC-386B-E02F-594085924D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378AE5-D43E-2253-8990-BEAA1D0B13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7760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EA276C-40CE-E50A-AADD-AC3CE62B34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E8C52AF-D307-B9C7-696D-461DC9C35D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3DAC46F-5965-2E83-93CE-AB811A154B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8D27BB-3F10-FBE3-5A8F-12E1436D3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0017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2D6C7-4214-ABFC-B7BC-7268C3D6B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CBABDEE-3A33-68AF-ABBC-728E36216B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4FAB06E-C6F3-273B-C1D4-49427C88DD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E4C41E1-0DD6-8637-77AB-A56A9BEC5E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21273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DD674-981E-99A9-D04A-EF4F5C542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33E0661-2F6C-C746-B8B0-AACD8E465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C32DDE7-7A1F-74E8-D1D7-05DA823E08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8C650E-60C2-9560-62BE-3D8B0B68A2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83040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24B1E-5995-0077-19BA-9A1125CEEA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B420DB3-4A5F-85B8-E2D5-CC36294A86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DD1022F-3272-DEB9-C80F-94325253E5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BCD2D6-EA25-1E36-8690-1CE048EEEA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37871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E0012-D927-CAAE-A864-2AB171B20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FE8FE73-4D45-56AB-45F9-ADB155319E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00C01D-51CA-9D09-88AE-7521C5F62F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C560E1-151F-553C-F7D6-39835E26C3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08426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51A9B2-8C15-F7E7-0B3D-118878708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3D7E62-D850-0D2E-9755-54FFFACA8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16E420-087F-D292-14D8-D15D80239C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888CC9-79DD-072D-7E60-8572424B4A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9450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2912F-8132-82B2-195D-C042C1266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B378E39-E189-A0F1-DF43-2BB77BD023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9F1F184-3216-C1BE-3DE4-EC863B17C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375C99-B1B5-3801-4494-D97462C5CA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03922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2A5A1-61D8-FBDC-7828-F9E2A05663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F0F05C1-4A93-0F08-08D3-65559504E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9D7B03C-8611-93A4-FE4C-BB3C8DD1CB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B6CF04-1E40-B9BB-184A-A81BB67F28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82600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901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A7A30-5AC5-A672-B92D-35065C38D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CF019BD-819A-86CC-EDDE-4FCF0B4AD6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7F540B4-186C-A1B2-E1D5-5F76C22A59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EF427F-1DAE-04C9-3DE0-4586CF1A0D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7902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8325D-5232-CBBC-AEEF-9CAC5EC32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F5E65D-82BF-B3EE-F0CD-327CAC7C90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B27B12-0ACD-B3BE-04E6-76A60208CB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C3187D-6206-84CB-9F1D-07976BD4AD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190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3082C8-F5E1-09FF-225F-D4373BB1D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DBA6ECB-BB43-8FC7-5F38-CE6894C06F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4A7DB2E-0D76-13BF-3B3D-949642CDD0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1ED53C-0AB4-CEFC-D36A-0A4FF54DAD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81474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371D0-F093-2EB0-67C2-4278D8F17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747E159-4C2F-8DE5-0428-DFE058561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8ABB3E3-B685-61F7-6685-BE71DC3FF5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EEEB39-E893-14D3-2BA9-D1B90C271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5048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EAC107-5083-4B28-79DA-9056FBAB6E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BCA75FB-7275-9467-2D9F-064BED56B2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96C1015-8CD2-F6F6-DCA4-08BF4820F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2426BB-F5A2-6D60-52E3-DA7C8040F5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472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63A0A-E763-2F09-4649-FFF558B10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6F4BC65-F908-5A37-8291-D35AE6D256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960BF7-926A-9011-5B41-CCA8FF5C9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000C63-F403-BD1F-27D8-88EB56545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905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79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057681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882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09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743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17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9977172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41446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Grafik 8">
            <a:extLst>
              <a:ext uri="{FF2B5EF4-FFF2-40B4-BE49-F238E27FC236}">
                <a16:creationId xmlns:a16="http://schemas.microsoft.com/office/drawing/2014/main" id="{EC2333C9-7C64-4C37-8085-3482C25F21FB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5534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DE717E-46C1-446C-AC0A-112EF61AB8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DE717E-46C1-446C-AC0A-112EF61AB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A18A666-963B-452E-AD8E-146C9F2ACCD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773889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04FCD6D-FEBB-4B98-A8C4-8431CC99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9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04FCD6D-FEBB-4B98-A8C4-8431CC99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4AB2A2-5C36-4389-B017-BFC52E120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5180" y="3485339"/>
            <a:ext cx="2446020" cy="326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90000" tIns="43200" rIns="90000" bIns="43200" anchor="ctr">
            <a:spAutoFit/>
          </a:bodyPr>
          <a:lstStyle>
            <a:lvl1pPr marL="0" indent="0" algn="ctr">
              <a:buNone/>
              <a:defRPr sz="9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Find Out more on henkel.com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8C3A2EF6-6C94-4211-862D-30B55989F42C}"/>
              </a:ext>
            </a:extLst>
          </p:cNvPr>
          <p:cNvSpPr/>
          <p:nvPr userDrawn="1"/>
        </p:nvSpPr>
        <p:spPr bwMode="gray">
          <a:xfrm>
            <a:off x="3552350" y="1677370"/>
            <a:ext cx="2017870" cy="1125096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69523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BA29D9-2E45-4D20-9CC6-912FB3599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4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2BA29D9-2E45-4D20-9CC6-912FB3599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1C7942-B3D3-4A92-ADA0-4EE61A866B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6613" y="2572544"/>
            <a:ext cx="4497387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3919060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3919060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77E2C503-FE7A-4518-BEC3-004C1581993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46613" y="0"/>
            <a:ext cx="4497387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61942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5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C7FC146F-8647-4DFB-A98F-113345264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01BF756-A092-4664-A90D-C8A1CD33A9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9066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6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84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147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B3D9F52-0B6D-4547-AF18-EBEAA3D5E5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EDD65B7E-6040-41A8-A16D-05D3AEB068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25718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57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867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30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3449E0-CEB3-4C53-976C-0734C47EA5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B6C3185-E1E7-43BF-BD7C-7DF1B7768DE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54730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71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8664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14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A4EA6A3-1751-425A-9487-70CE502884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2277825A-FEB6-4466-BA6B-EBB1C70D31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35521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5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017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036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BA0DD509-B738-4671-8F78-20AAE2CDA5E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1FAABEB8-81DC-419C-8394-06085D9E248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1847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0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5B69B33-5E60-4C3B-AAD7-7D7122C27D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37E4806C-BD18-4D90-B0E2-E72442B67C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985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53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405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838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91B005A-8220-48D4-B553-056F8953FC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CD252B3-C0F4-4966-ABC7-4D25D3A9CA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43003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9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8704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59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8C3FDDC2-8DC2-466D-9F5C-90CA7A4923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7F7A5A2-C1FC-4B22-A850-FB8A5DF6235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65982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78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7622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61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1BE8A37-8162-4CAE-BD0C-5619002136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8DDB3A38-E08B-4242-9771-6BD1A596F9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37897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66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985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28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0B457A-2C7B-4D8B-B0CE-5A239865D5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B0B4E035-3347-4C5E-8B56-4A09B3AF5A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01218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09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8652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74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7DA8024-86D7-42BE-9453-625CDA9BDA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EC617B1-073A-444A-AC02-4ADF3782DE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452072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red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7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/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923790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6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89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49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0616784-71D5-4539-BD85-050D2DF5C3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5814BA38-9E60-4374-ADCB-F7D6526F81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555411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8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727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41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D539E2E-F4B3-4C70-ACF7-A9231130E3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18D4241-549D-43A0-8E29-A01969CE91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240542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9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266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35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D852C848-C659-49BA-8563-14F594D465F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4F89500-C6C2-41FE-9AB7-437D988992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593516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9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8599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1492250"/>
            <a:ext cx="7091363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7" y="1904999"/>
            <a:ext cx="7091363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9399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55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00	Topic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F18E8CB-CD03-40C6-B7D1-87326F397A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3048000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0460794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6528EAF-06EF-4E10-9756-97CCFAF215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096000" y="1492250"/>
            <a:ext cx="2174876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904999"/>
            <a:ext cx="2174875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756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white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389BCF4-C99D-48D8-9A74-2007D279C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76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389BCF4-C99D-48D8-9A74-2007D279C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293678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8">
            <a:extLst>
              <a:ext uri="{FF2B5EF4-FFF2-40B4-BE49-F238E27FC236}">
                <a16:creationId xmlns:a16="http://schemas.microsoft.com/office/drawing/2014/main" id="{681CA2B5-B3EC-EFD0-0165-287FB94747FE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E9C5768F-A271-0CD9-016B-E33207FD3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51BC0A0F-BCA0-884E-FEC9-058147DBD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0BF5F6B-6587-BDA8-247B-5561F18202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06910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A2E040A5-7BEB-D530-C6AA-370B415C84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6910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9D549421-13D5-1A97-7588-7756D665CB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50878" y="1498601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EBC5DC18-F45D-484B-99C2-E4D52B69F6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50878" y="1911350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3CE7AE54-6D0D-3CE5-41E0-4CC80C2443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19254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4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86F0B5B2-D93A-A803-4782-3186BCD252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19254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C2FD2604-576A-5D04-1FC5-EC66519248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393633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5</a:t>
            </a:r>
          </a:p>
        </p:txBody>
      </p:sp>
      <p:sp>
        <p:nvSpPr>
          <p:cNvPr id="33" name="Textplatzhalter 16">
            <a:extLst>
              <a:ext uri="{FF2B5EF4-FFF2-40B4-BE49-F238E27FC236}">
                <a16:creationId xmlns:a16="http://schemas.microsoft.com/office/drawing/2014/main" id="{DFF3E3DD-53BE-A21A-0CC1-229C83FF6F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93633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489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492251"/>
            <a:ext cx="2171700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492251"/>
            <a:ext cx="2176462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492251"/>
            <a:ext cx="2174875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0109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48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838982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24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4A0FEDB5-55F9-4E87-8B03-149544ABDF68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E090A17D-1ADA-4C44-BB80-67CAA3C46B3E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90086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BC2A01-E2BE-4156-8757-2C2BD7738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16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BC2A01-E2BE-4156-8757-2C2BD7738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7091362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7091362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87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C2AE64E-F763-43E8-B948-FA922006A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4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C2AE64E-F763-43E8-B948-FA922006A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75904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642938"/>
            <a:ext cx="2475694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53567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3AA824B-4E89-41EC-8BF6-3AD4211A3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08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3AA824B-4E89-41EC-8BF6-3AD4211A3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0"/>
            <a:ext cx="3048000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816698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3183732"/>
            <a:ext cx="2475694" cy="1188244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656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2337D2E-40FD-4DFC-A64D-11F24C4DE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95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2337D2E-40FD-4DFC-A64D-11F24C4DE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Eben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15174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BA29D9-2E45-4D20-9CC6-912FB3599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4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2BA29D9-2E45-4D20-9CC6-912FB3599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1C7942-B3D3-4A92-ADA0-4EE61A866B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6612" y="0"/>
            <a:ext cx="44973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3919060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3919060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5392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8230CB-E2F4-40C5-9C78-3586D0387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7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8230CB-E2F4-40C5-9C78-3586D0387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97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, 3:9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CD0F60-54F1-4706-9782-ECB2DFD90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94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2CD0F60-54F1-4706-9782-ECB2DFD90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FF86CBD-3364-4092-8856-8EC6D722C1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78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, 9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1BA4EA-FFD8-48F8-8F25-E109FBD24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9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1BA4EA-FFD8-48F8-8F25-E109FBD24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667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EBA6552-EDE0-43A1-872A-5D55F492E5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67500" y="0"/>
            <a:ext cx="2476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8181369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21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B63E13F-EA80-4906-83BE-4F928DDD7D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6668306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668306" y="0"/>
            <a:ext cx="2475694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71912" y="275904"/>
            <a:ext cx="1868876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72299" y="642938"/>
            <a:ext cx="1870075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5784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E3FC7EB-ADE5-443B-9A42-367A15378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023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E3FC7EB-ADE5-443B-9A42-367A15378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342900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4AD7E66-3095-412B-BE5D-B315C13255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19900" y="3429000"/>
            <a:ext cx="2324100" cy="1716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215527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diagr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3AC4753-D114-477D-A7FB-1390A2494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86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3AC4753-D114-477D-A7FB-1390A2494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A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4E4E41-C1A8-4AFE-89E9-54339DC330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91101" y="306387"/>
            <a:ext cx="3851274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Diagram title, Segoe UI, 12p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4D4C68-FDFC-4FE6-A3A0-24378231A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1101" y="652858"/>
            <a:ext cx="3851274" cy="265907"/>
          </a:xfrm>
        </p:spPr>
        <p:txBody>
          <a:bodyPr>
            <a:noAutofit/>
          </a:bodyPr>
          <a:lstStyle>
            <a:lvl1pPr marL="0" indent="0" rtl="0">
              <a:buNone/>
              <a:defRPr sz="800"/>
            </a:lvl1pPr>
          </a:lstStyle>
          <a:p>
            <a:pPr lvl="0"/>
            <a:r>
              <a:rPr lang="en-US" dirty="0"/>
              <a:t>Description Diagram, Segoe UI, 8pt</a:t>
            </a:r>
          </a:p>
        </p:txBody>
      </p:sp>
      <p:sp>
        <p:nvSpPr>
          <p:cNvPr id="15" name="Diagrammplatzhalter 14">
            <a:extLst>
              <a:ext uri="{FF2B5EF4-FFF2-40B4-BE49-F238E27FC236}">
                <a16:creationId xmlns:a16="http://schemas.microsoft.com/office/drawing/2014/main" id="{20B37BD7-45FF-41A0-AB59-B76A319E6D94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991100" y="1076916"/>
            <a:ext cx="3851273" cy="3295060"/>
          </a:xfrm>
        </p:spPr>
        <p:txBody>
          <a:bodyPr/>
          <a:lstStyle>
            <a:lvl1pPr marL="0" indent="0" rtl="0">
              <a:buNone/>
              <a:defRPr sz="800"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13D4DFC2-F6C7-49FF-AB28-76635678DC07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07513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165371-590F-40AB-9425-F5684413E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11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165371-590F-40AB-9425-F5684413E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618DC39-80CC-4F5E-8FB8-24DAE4535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7A86BD-6A47-4B6A-BA1B-DCCC0C012F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879D3C-EBE0-4AE4-8301-1247E1CF7D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18B60FF-2FC8-470D-A7A3-EC2AD45DA3B1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 bwMode="gray">
          <a:xfrm>
            <a:off x="3000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3C30865-6727-4E30-BE8D-6E3CE051C0A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31956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0A7EB19F-EEBD-412C-AC27-DD00650D0913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100763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701712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8CB916D-D210-4BC5-AA19-30E94CD9E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329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8CB916D-D210-4BC5-AA19-30E94CD9E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0CFC28F-EC47-4DDB-8C5D-03309FB39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EFA14A-D6E7-47FF-924E-E4CB909803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A9710-C66C-461A-BEF7-CAD1B717F3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abellenplatzhalter 5">
            <a:extLst>
              <a:ext uri="{FF2B5EF4-FFF2-40B4-BE49-F238E27FC236}">
                <a16:creationId xmlns:a16="http://schemas.microsoft.com/office/drawing/2014/main" id="{B7A2A10A-2613-4F52-86A9-C634AD0C4E6E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300038" y="1492250"/>
            <a:ext cx="8542337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tab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51159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16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7559CB0D-6B98-425D-BF5E-BB01C79AC836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17000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408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303212"/>
            <a:ext cx="8539955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, 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39CB7AFC-62B1-4A25-AE97-E2B9062BF220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86743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8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EAF814B-61FB-4BA3-A28A-7985FCA4803E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819900" y="0"/>
            <a:ext cx="23241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F6167EC-44E4-4CBB-914D-65AC12E79F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7057696" y="275904"/>
            <a:ext cx="1783333" cy="156902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sz="1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0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57103" y="585788"/>
            <a:ext cx="1784477" cy="378618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 sz="10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03691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C0F9577-92F1-475C-BAC8-4DAA145E77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C0F9577-92F1-475C-BAC8-4DAA145E77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30D59A4B-5427-4613-A316-5C5C738B1B49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E177734-E4F2-4A8B-8528-BFC692A799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AE4D0E1-24BE-4A9F-9B0C-319E32F754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68986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Grafik 8">
            <a:extLst>
              <a:ext uri="{FF2B5EF4-FFF2-40B4-BE49-F238E27FC236}">
                <a16:creationId xmlns:a16="http://schemas.microsoft.com/office/drawing/2014/main" id="{179908B5-EFBF-44AE-B5F4-6524DE4D1D24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AA1064-7CA0-4E22-9F40-41A638ADFD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84837" y="298450"/>
            <a:ext cx="3157537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opic, Segoe UI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E6E806F-FE68-4081-AE5C-2EB33C38C4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84838" y="487045"/>
            <a:ext cx="3157538" cy="3884930"/>
          </a:xfrm>
        </p:spPr>
        <p:txBody>
          <a:bodyPr/>
          <a:lstStyle>
            <a:lvl1pPr marL="0" indent="0" rtl="0">
              <a:lnSpc>
                <a:spcPts val="5200"/>
              </a:lnSpc>
              <a:buNone/>
              <a:defRPr sz="5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 Or Numb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40EF66-897B-4BCE-8D84-2CEB6D04C6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255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DB44EF-00C9-40A1-81CF-7324F4B99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2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DB44EF-00C9-40A1-81CF-7324F4B99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0338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891FA5F-078F-4117-A495-CF038903B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891FA5F-078F-4117-A495-CF038903B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/>
          <p:nvPr userDrawn="1"/>
        </p:nvSpPr>
        <p:spPr bwMode="gray">
          <a:xfrm>
            <a:off x="300039" y="2286000"/>
            <a:ext cx="2019299" cy="208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/>
          <p:nvPr userDrawn="1"/>
        </p:nvSpPr>
        <p:spPr bwMode="gray">
          <a:xfrm>
            <a:off x="2319337" y="298448"/>
            <a:ext cx="3052763" cy="15712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00038" y="298449"/>
            <a:ext cx="2019298" cy="1987551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319338" y="1869743"/>
            <a:ext cx="3052762" cy="2502232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372100" y="298449"/>
            <a:ext cx="3470275" cy="40735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51882" y="2437606"/>
            <a:ext cx="1715612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1882" y="2741616"/>
            <a:ext cx="1715612" cy="1506534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E3EC1BC-B6DD-43BD-AD6F-A77313948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01872" y="571134"/>
            <a:ext cx="2487693" cy="1025922"/>
          </a:xfrm>
        </p:spPr>
        <p:txBody>
          <a:bodyPr anchor="ctr">
            <a:noAutofit/>
          </a:bodyPr>
          <a:lstStyle>
            <a:lvl1pPr marL="0" indent="0" rtl="0">
              <a:lnSpc>
                <a:spcPts val="4000"/>
              </a:lnSpc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/ Number</a:t>
            </a:r>
          </a:p>
        </p:txBody>
      </p:sp>
    </p:spTree>
    <p:extLst>
      <p:ext uri="{BB962C8B-B14F-4D97-AF65-F5344CB8AC3E}">
        <p14:creationId xmlns:p14="http://schemas.microsoft.com/office/powerpoint/2010/main" val="13405106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04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1151887"/>
            <a:ext cx="2847600" cy="15227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849246"/>
            <a:ext cx="2850796" cy="15227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849244"/>
            <a:ext cx="2845769" cy="152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1151887"/>
            <a:ext cx="284577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674620"/>
            <a:ext cx="284760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1151887"/>
            <a:ext cx="2849562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070224"/>
            <a:ext cx="2281590" cy="110684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372866"/>
            <a:ext cx="2281896" cy="110765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070226"/>
            <a:ext cx="2281896" cy="110886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D664C7-0545-4A14-9DCB-BE8E2F693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2548850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76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1151887"/>
            <a:ext cx="4264629" cy="151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858284"/>
            <a:ext cx="4277707" cy="15136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1151884"/>
            <a:ext cx="4277710" cy="170640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664619"/>
            <a:ext cx="4264629" cy="170735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086884"/>
            <a:ext cx="3707066" cy="104894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1380487"/>
            <a:ext cx="3708000" cy="104838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947B689-263C-46D8-BD1A-F32003D46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0121260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77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298447"/>
            <a:ext cx="2847600" cy="19193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490716"/>
            <a:ext cx="2850796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490716"/>
            <a:ext cx="2845769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298449"/>
            <a:ext cx="2845770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217759"/>
            <a:ext cx="2847600" cy="215421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298450"/>
            <a:ext cx="2849562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30" y="2717054"/>
            <a:ext cx="2281590" cy="498598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302000"/>
            <a:ext cx="2281590" cy="78422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7746" y="552096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124390"/>
            <a:ext cx="2281896" cy="7848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4410347-E07E-4B83-8D69-8A994CBA34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516" y="2717054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300567"/>
            <a:ext cx="2281896" cy="78565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96701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0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298447"/>
            <a:ext cx="4264629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538414"/>
            <a:ext cx="4277707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298449"/>
            <a:ext cx="4277710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132009"/>
            <a:ext cx="4264629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28" y="2807547"/>
            <a:ext cx="3707066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154368"/>
            <a:ext cx="3707066" cy="95090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51034" y="606687"/>
            <a:ext cx="3708000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943794"/>
            <a:ext cx="3708000" cy="9504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5761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71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7291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re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26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5619" cy="1538883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8167987-BC69-4A2B-82A3-6F7D3BE6823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668404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58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15721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293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4133397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632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0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6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3B413B13-55F7-41C0-B98C-8841607428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E68A076-ECA3-4C3F-8ACE-FCDA132B0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4629265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8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6432899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47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1122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49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280174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105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28789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2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814220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70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9492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143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8625145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391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67383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1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975046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77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1342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560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7681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4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65682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4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4449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507860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57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59261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466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9985836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531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3252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50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932544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57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5847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95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91732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439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5569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30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CA9CA93-6B6D-4933-A4DB-3993CCDEF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99F140C-09BF-423D-A0CC-184EF5A56D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5313651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616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473585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52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76150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8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32388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49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11453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03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554397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74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52880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48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5531769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05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Quote, </a:t>
            </a:r>
            <a:br>
              <a:rPr lang="en-US" noProof="0"/>
            </a:br>
            <a:r>
              <a:rPr lang="en-US" noProof="0"/>
              <a:t>Segoe UI, 40pt, </a:t>
            </a:r>
            <a:br>
              <a:rPr lang="en-US" noProof="0"/>
            </a:br>
            <a:r>
              <a:rPr lang="en-US" noProof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7990526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8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38282393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30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229041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2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oleObject" Target="../embeddings/oleObject1.bin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image" Target="../media/image1.emf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3C7373-B062-49D1-95CD-2D40ADE5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7"/>
            </p:custDataLst>
            <p:extLst>
              <p:ext uri="{D42A27DB-BD31-4B8C-83A1-F6EECF244321}">
                <p14:modId xmlns:p14="http://schemas.microsoft.com/office/powerpoint/2010/main" val="25056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8" imgW="306" imgH="306" progId="TCLayout.ActiveDocument.1">
                  <p:embed/>
                </p:oleObj>
              </mc:Choice>
              <mc:Fallback>
                <p:oleObj name="think-cell Folie" r:id="rId10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3C7373-B062-49D1-95CD-2D40ADE5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2420" y="303212"/>
            <a:ext cx="7091362" cy="6155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Slide Title, Segoe UI, 24pt</a:t>
            </a:r>
            <a:br>
              <a:rPr lang="en-US" noProof="0" dirty="0"/>
            </a:br>
            <a:r>
              <a:rPr lang="en-US" noProof="0" dirty="0"/>
              <a:t>Max.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02420" y="1492251"/>
            <a:ext cx="7088980" cy="28797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, Segoe UI, 12pt 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618649" y="4733844"/>
            <a:ext cx="3151664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00038" y="4733844"/>
            <a:ext cx="318611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rafik 8">
            <a:extLst>
              <a:ext uri="{FF2B5EF4-FFF2-40B4-BE49-F238E27FC236}">
                <a16:creationId xmlns:a16="http://schemas.microsoft.com/office/drawing/2014/main" id="{7BF37C91-00E2-47BD-94A0-102999D00519}"/>
              </a:ext>
            </a:extLst>
          </p:cNvPr>
          <p:cNvSpPr/>
          <p:nvPr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107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78" r:id="rId2"/>
    <p:sldLayoutId id="2147483661" r:id="rId3"/>
    <p:sldLayoutId id="2147483672" r:id="rId4"/>
    <p:sldLayoutId id="2147483673" r:id="rId5"/>
    <p:sldLayoutId id="2147483674" r:id="rId6"/>
    <p:sldLayoutId id="2147483708" r:id="rId7"/>
    <p:sldLayoutId id="2147483709" r:id="rId8"/>
    <p:sldLayoutId id="2147483710" r:id="rId9"/>
    <p:sldLayoutId id="2147483711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80" r:id="rId37"/>
    <p:sldLayoutId id="2147483713" r:id="rId38"/>
    <p:sldLayoutId id="2147483677" r:id="rId39"/>
    <p:sldLayoutId id="2147483782" r:id="rId40"/>
    <p:sldLayoutId id="2147483781" r:id="rId41"/>
    <p:sldLayoutId id="2147483675" r:id="rId42"/>
    <p:sldLayoutId id="2147483775" r:id="rId43"/>
    <p:sldLayoutId id="2147483676" r:id="rId44"/>
    <p:sldLayoutId id="2147483685" r:id="rId45"/>
    <p:sldLayoutId id="2147483686" r:id="rId46"/>
    <p:sldLayoutId id="2147483687" r:id="rId47"/>
    <p:sldLayoutId id="2147483688" r:id="rId48"/>
    <p:sldLayoutId id="2147483689" r:id="rId49"/>
    <p:sldLayoutId id="2147483690" r:id="rId50"/>
    <p:sldLayoutId id="2147483692" r:id="rId51"/>
    <p:sldLayoutId id="2147483693" r:id="rId52"/>
    <p:sldLayoutId id="2147483695" r:id="rId53"/>
    <p:sldLayoutId id="2147483696" r:id="rId54"/>
    <p:sldLayoutId id="2147483697" r:id="rId55"/>
    <p:sldLayoutId id="2147483698" r:id="rId56"/>
    <p:sldLayoutId id="2147483716" r:id="rId57"/>
    <p:sldLayoutId id="2147483718" r:id="rId58"/>
    <p:sldLayoutId id="2147483704" r:id="rId59"/>
    <p:sldLayoutId id="2147483705" r:id="rId60"/>
    <p:sldLayoutId id="2147483776" r:id="rId61"/>
    <p:sldLayoutId id="2147483777" r:id="rId62"/>
    <p:sldLayoutId id="2147483706" r:id="rId63"/>
    <p:sldLayoutId id="2147483707" r:id="rId64"/>
    <p:sldLayoutId id="2147483714" r:id="rId65"/>
    <p:sldLayoutId id="2147483715" r:id="rId66"/>
    <p:sldLayoutId id="2147483745" r:id="rId67"/>
    <p:sldLayoutId id="2147483746" r:id="rId68"/>
    <p:sldLayoutId id="2147483747" r:id="rId69"/>
    <p:sldLayoutId id="2147483748" r:id="rId70"/>
    <p:sldLayoutId id="2147483749" r:id="rId71"/>
    <p:sldLayoutId id="2147483750" r:id="rId72"/>
    <p:sldLayoutId id="2147483751" r:id="rId73"/>
    <p:sldLayoutId id="2147483752" r:id="rId74"/>
    <p:sldLayoutId id="2147483753" r:id="rId75"/>
    <p:sldLayoutId id="2147483754" r:id="rId76"/>
    <p:sldLayoutId id="2147483755" r:id="rId77"/>
    <p:sldLayoutId id="2147483756" r:id="rId78"/>
    <p:sldLayoutId id="2147483683" r:id="rId79"/>
    <p:sldLayoutId id="2147483684" r:id="rId80"/>
    <p:sldLayoutId id="2147483757" r:id="rId81"/>
    <p:sldLayoutId id="2147483758" r:id="rId82"/>
    <p:sldLayoutId id="2147483759" r:id="rId83"/>
    <p:sldLayoutId id="2147483760" r:id="rId84"/>
    <p:sldLayoutId id="2147483761" r:id="rId85"/>
    <p:sldLayoutId id="2147483762" r:id="rId86"/>
    <p:sldLayoutId id="2147483763" r:id="rId87"/>
    <p:sldLayoutId id="2147483764" r:id="rId88"/>
    <p:sldLayoutId id="2147483765" r:id="rId89"/>
    <p:sldLayoutId id="2147483766" r:id="rId90"/>
    <p:sldLayoutId id="2147483767" r:id="rId91"/>
    <p:sldLayoutId id="2147483768" r:id="rId92"/>
    <p:sldLayoutId id="2147483769" r:id="rId93"/>
    <p:sldLayoutId id="2147483770" r:id="rId94"/>
    <p:sldLayoutId id="2147483771" r:id="rId95"/>
    <p:sldLayoutId id="2147483772" r:id="rId96"/>
    <p:sldLayoutId id="2147483717" r:id="rId97"/>
    <p:sldLayoutId id="2147483699" r:id="rId98"/>
    <p:sldLayoutId id="2147483773" r:id="rId99"/>
    <p:sldLayoutId id="2147483774" r:id="rId100"/>
    <p:sldLayoutId id="2147483700" r:id="rId101"/>
    <p:sldLayoutId id="2147483779" r:id="rId102"/>
    <p:sldLayoutId id="2147483701" r:id="rId103"/>
    <p:sldLayoutId id="2147483702" r:id="rId104"/>
    <p:sldLayoutId id="2147483783" r:id="rId105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90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58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26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9" userDrawn="1">
          <p15:clr>
            <a:srgbClr val="A4A3A4"/>
          </p15:clr>
        </p15:guide>
        <p15:guide id="5" orient="horz" pos="188" userDrawn="1">
          <p15:clr>
            <a:srgbClr val="A4A3A4"/>
          </p15:clr>
        </p15:guide>
        <p15:guide id="7" orient="horz" pos="3052" userDrawn="1">
          <p15:clr>
            <a:srgbClr val="A4A3A4"/>
          </p15:clr>
        </p15:guide>
        <p15:guide id="8" pos="549" userDrawn="1">
          <p15:clr>
            <a:srgbClr val="A4A3A4"/>
          </p15:clr>
        </p15:guide>
        <p15:guide id="9" pos="645" userDrawn="1">
          <p15:clr>
            <a:srgbClr val="A4A3A4"/>
          </p15:clr>
        </p15:guide>
        <p15:guide id="10" pos="1005" userDrawn="1">
          <p15:clr>
            <a:srgbClr val="A4A3A4"/>
          </p15:clr>
        </p15:guide>
        <p15:guide id="11" pos="1101" userDrawn="1">
          <p15:clr>
            <a:srgbClr val="A4A3A4"/>
          </p15:clr>
        </p15:guide>
        <p15:guide id="12" pos="1461" userDrawn="1">
          <p15:clr>
            <a:srgbClr val="A4A3A4"/>
          </p15:clr>
        </p15:guide>
        <p15:guide id="13" pos="1557" userDrawn="1">
          <p15:clr>
            <a:srgbClr val="A4A3A4"/>
          </p15:clr>
        </p15:guide>
        <p15:guide id="14" pos="1917" userDrawn="1">
          <p15:clr>
            <a:srgbClr val="A4A3A4"/>
          </p15:clr>
        </p15:guide>
        <p15:guide id="15" pos="2013" userDrawn="1">
          <p15:clr>
            <a:srgbClr val="A4A3A4"/>
          </p15:clr>
        </p15:guide>
        <p15:guide id="16" pos="2375" userDrawn="1">
          <p15:clr>
            <a:srgbClr val="A4A3A4"/>
          </p15:clr>
        </p15:guide>
        <p15:guide id="17" pos="2471" userDrawn="1">
          <p15:clr>
            <a:srgbClr val="A4A3A4"/>
          </p15:clr>
        </p15:guide>
        <p15:guide id="18" pos="2832" userDrawn="1">
          <p15:clr>
            <a:srgbClr val="A4A3A4"/>
          </p15:clr>
        </p15:guide>
        <p15:guide id="19" pos="2927" userDrawn="1">
          <p15:clr>
            <a:srgbClr val="A4A3A4"/>
          </p15:clr>
        </p15:guide>
        <p15:guide id="20" pos="3288" userDrawn="1">
          <p15:clr>
            <a:srgbClr val="A4A3A4"/>
          </p15:clr>
        </p15:guide>
        <p15:guide id="21" pos="3384" userDrawn="1">
          <p15:clr>
            <a:srgbClr val="A4A3A4"/>
          </p15:clr>
        </p15:guide>
        <p15:guide id="22" pos="3744" userDrawn="1">
          <p15:clr>
            <a:srgbClr val="A4A3A4"/>
          </p15:clr>
        </p15:guide>
        <p15:guide id="23" pos="3840" userDrawn="1">
          <p15:clr>
            <a:srgbClr val="A4A3A4"/>
          </p15:clr>
        </p15:guide>
        <p15:guide id="24" pos="4200" userDrawn="1">
          <p15:clr>
            <a:srgbClr val="A4A3A4"/>
          </p15:clr>
        </p15:guide>
        <p15:guide id="25" pos="4296" userDrawn="1">
          <p15:clr>
            <a:srgbClr val="A4A3A4"/>
          </p15:clr>
        </p15:guide>
        <p15:guide id="26" pos="4656" userDrawn="1">
          <p15:clr>
            <a:srgbClr val="A4A3A4"/>
          </p15:clr>
        </p15:guide>
        <p15:guide id="27" pos="4752" userDrawn="1">
          <p15:clr>
            <a:srgbClr val="A4A3A4"/>
          </p15:clr>
        </p15:guide>
        <p15:guide id="28" pos="5114" userDrawn="1">
          <p15:clr>
            <a:srgbClr val="A4A3A4"/>
          </p15:clr>
        </p15:guide>
        <p15:guide id="29" pos="5210" userDrawn="1">
          <p15:clr>
            <a:srgbClr val="A4A3A4"/>
          </p15:clr>
        </p15:guide>
        <p15:guide id="31" pos="5570" userDrawn="1">
          <p15:clr>
            <a:srgbClr val="A4A3A4"/>
          </p15:clr>
        </p15:guide>
        <p15:guide id="32" orient="horz" pos="940" userDrawn="1">
          <p15:clr>
            <a:srgbClr val="A4A3A4"/>
          </p15:clr>
        </p15:guide>
        <p15:guide id="33" orient="horz" pos="275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3.xml"/><Relationship Id="rId6" Type="http://schemas.openxmlformats.org/officeDocument/2006/relationships/hyperlink" Target="https://www.w3schools.com/css/default.asp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4.xml"/><Relationship Id="rId6" Type="http://schemas.openxmlformats.org/officeDocument/2006/relationships/hyperlink" Target="https://developer.mozilla.org/en-US/play?uuid=3e65e618-2da2-429f-86b5-1cd4a745f7af&amp;state=ZY5Bi8IwEEb%2FyvidKki9V%2Bul7N2rkEtMRlM3nYR2Cor43yUt7GVPwzBvHu%2BNoENEg%2BN1Vk1CSVzs3W9r4Ea2ymc72vtoc6i2Bqeu3GjgzXG%2F8icj2MFNExpgh0eZt1mc9knon4HeRohckkkp29FSSz65eWDReoV%2FIpetMsgG20PBC1grP7VLoixKLRlc0kxLKHvSwLTWbAyWlz%2FpNflXbXNm8V3oo6%2BKrGg%2FS7cGHhgNYn8Pis8X&amp;srcPrefix=%2Fen-US%2Fdocs%2FLearn_web_development%2FCore%2FScripting%2FWhat_is_JavaScript%2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javascript.info/arrow-functions-basics" TargetMode="External"/><Relationship Id="rId13" Type="http://schemas.openxmlformats.org/officeDocument/2006/relationships/hyperlink" Target="https://javascript.info/fetch" TargetMode="External"/><Relationship Id="rId3" Type="http://schemas.openxmlformats.org/officeDocument/2006/relationships/hyperlink" Target="https://javascript.info/types" TargetMode="External"/><Relationship Id="rId7" Type="http://schemas.openxmlformats.org/officeDocument/2006/relationships/hyperlink" Target="https://javascript.info/function-basics" TargetMode="External"/><Relationship Id="rId12" Type="http://schemas.openxmlformats.org/officeDocument/2006/relationships/hyperlink" Target="https://javascript.info/mouse-events-basics" TargetMode="External"/><Relationship Id="rId2" Type="http://schemas.openxmlformats.org/officeDocument/2006/relationships/hyperlink" Target="https://javascript.info/variables" TargetMode="External"/><Relationship Id="rId1" Type="http://schemas.openxmlformats.org/officeDocument/2006/relationships/slideLayout" Target="../slideLayouts/slideLayout43.xml"/><Relationship Id="rId6" Type="http://schemas.openxmlformats.org/officeDocument/2006/relationships/hyperlink" Target="https://javascript.info/logical-operators" TargetMode="External"/><Relationship Id="rId11" Type="http://schemas.openxmlformats.org/officeDocument/2006/relationships/hyperlink" Target="https://javascript.info/destructuring-assignment" TargetMode="External"/><Relationship Id="rId5" Type="http://schemas.openxmlformats.org/officeDocument/2006/relationships/hyperlink" Target="https://javascript.info/switch" TargetMode="External"/><Relationship Id="rId10" Type="http://schemas.openxmlformats.org/officeDocument/2006/relationships/hyperlink" Target="https://javascript.info/array" TargetMode="External"/><Relationship Id="rId4" Type="http://schemas.openxmlformats.org/officeDocument/2006/relationships/hyperlink" Target="https://javascript.info/while-for" TargetMode="External"/><Relationship Id="rId9" Type="http://schemas.openxmlformats.org/officeDocument/2006/relationships/hyperlink" Target="https://javascript.info/object" TargetMode="External"/><Relationship Id="rId14" Type="http://schemas.openxmlformats.org/officeDocument/2006/relationships/hyperlink" Target="https://javascript.info/localstorage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5.xml"/><Relationship Id="rId6" Type="http://schemas.openxmlformats.org/officeDocument/2006/relationships/hyperlink" Target="https://javascript.info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6.xml"/><Relationship Id="rId6" Type="http://schemas.openxmlformats.org/officeDocument/2006/relationships/image" Target="../media/image4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Relationship Id="rId9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7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18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19.x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0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22.xml"/><Relationship Id="rId6" Type="http://schemas.openxmlformats.org/officeDocument/2006/relationships/image" Target="../media/image5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3.x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24.x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5.xml"/><Relationship Id="rId6" Type="http://schemas.openxmlformats.org/officeDocument/2006/relationships/image" Target="../media/image6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6.xml"/><Relationship Id="rId6" Type="http://schemas.openxmlformats.org/officeDocument/2006/relationships/image" Target="../media/image6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27.x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29.x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30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31.xml"/><Relationship Id="rId6" Type="http://schemas.openxmlformats.org/officeDocument/2006/relationships/image" Target="../media/image6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4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32.xml"/><Relationship Id="rId6" Type="http://schemas.openxmlformats.org/officeDocument/2006/relationships/image" Target="../media/image7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2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33.x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9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6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hyperlink" Target="https://jsonplaceholder.typicode.com/posts" TargetMode="External"/><Relationship Id="rId1" Type="http://schemas.openxmlformats.org/officeDocument/2006/relationships/slideLayout" Target="../slideLayouts/slideLayout4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4.xml"/><Relationship Id="rId6" Type="http://schemas.openxmlformats.org/officeDocument/2006/relationships/image" Target="../media/image8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1.xml"/><Relationship Id="rId6" Type="http://schemas.openxmlformats.org/officeDocument/2006/relationships/hyperlink" Target="https://www.w3schools.com/html/default.asp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35.x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6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7.xml"/><Relationship Id="rId6" Type="http://schemas.openxmlformats.org/officeDocument/2006/relationships/image" Target="../media/image8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8.xml"/><Relationship Id="rId6" Type="http://schemas.openxmlformats.org/officeDocument/2006/relationships/image" Target="../media/image9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39.xml"/><Relationship Id="rId6" Type="http://schemas.openxmlformats.org/officeDocument/2006/relationships/image" Target="../media/image9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C383830-5B10-401A-BF10-E6E174481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C383830-5B10-401A-BF10-E6E17448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47FAEEF0-36B7-4481-8228-07ECAE5665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8" y="792000"/>
            <a:ext cx="6858000" cy="1154162"/>
          </a:xfrm>
        </p:spPr>
        <p:txBody>
          <a:bodyPr vert="horz"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4DC78E09-2F5F-42ED-B40B-4690E044DA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2711435"/>
            <a:ext cx="2118714" cy="242122"/>
          </a:xfrm>
        </p:spPr>
        <p:txBody>
          <a:bodyPr/>
          <a:lstStyle/>
          <a:p>
            <a:r>
              <a:rPr lang="en-US" dirty="0"/>
              <a:t>Priyanka </a:t>
            </a:r>
            <a:r>
              <a:rPr lang="en-US" dirty="0" err="1"/>
              <a:t>MAThur</a:t>
            </a:r>
            <a:r>
              <a:rPr lang="en-US" dirty="0"/>
              <a:t> Soni, Nivedha</a:t>
            </a:r>
          </a:p>
        </p:txBody>
      </p:sp>
    </p:spTree>
    <p:extLst>
      <p:ext uri="{BB962C8B-B14F-4D97-AF65-F5344CB8AC3E}">
        <p14:creationId xmlns:p14="http://schemas.microsoft.com/office/powerpoint/2010/main" val="2861970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3D5875-6CDD-6089-8C58-EAF4D706C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231514-A0CD-DBEA-6DDD-5C86712C02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031E58-0E1E-D695-3CDA-1727ABA29D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0224C8-1CCF-26BD-2629-590CF8BF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Three ways of using CSS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6A8CA39-264B-350B-30A1-BBB9545123E5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26541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kern="1200" dirty="0">
                <a:solidFill>
                  <a:schemeClr val="bg1"/>
                </a:solidFill>
              </a:rPr>
              <a:t>Three ways of using CSS</a:t>
            </a:r>
          </a:p>
          <a:p>
            <a:pPr marL="0" indent="0" defTabSz="457200">
              <a:buClr>
                <a:schemeClr val="bg1"/>
              </a:buClr>
              <a:buNone/>
            </a:pPr>
            <a:r>
              <a:rPr lang="en-US" kern="1200" dirty="0">
                <a:solidFill>
                  <a:schemeClr val="bg1"/>
                </a:solidFill>
              </a:rPr>
              <a:t>   ✅ Inline CSS → Styling directly inside the element</a:t>
            </a:r>
          </a:p>
          <a:p>
            <a:pPr marL="0" indent="0" defTabSz="457200">
              <a:buClr>
                <a:schemeClr val="bg1"/>
              </a:buClr>
              <a:buNone/>
            </a:pPr>
            <a:r>
              <a:rPr lang="en-US" kern="1200" dirty="0">
                <a:solidFill>
                  <a:schemeClr val="bg1"/>
                </a:solidFill>
              </a:rPr>
              <a:t>   ✅ Internal CSS → Inside &lt;style&gt; tag in HTML</a:t>
            </a:r>
          </a:p>
          <a:p>
            <a:pPr marL="0" indent="0" defTabSz="457200">
              <a:buClr>
                <a:schemeClr val="bg1"/>
              </a:buClr>
              <a:buNone/>
            </a:pPr>
            <a:r>
              <a:rPr lang="en-US" kern="1200" dirty="0">
                <a:solidFill>
                  <a:schemeClr val="bg1"/>
                </a:solidFill>
              </a:rPr>
              <a:t>   ✅ External CSS → Separate .</a:t>
            </a:r>
            <a:r>
              <a:rPr lang="en-US" kern="1200" dirty="0" err="1">
                <a:solidFill>
                  <a:schemeClr val="bg1"/>
                </a:solidFill>
              </a:rPr>
              <a:t>css</a:t>
            </a:r>
            <a:r>
              <a:rPr lang="en-US" kern="1200" dirty="0">
                <a:solidFill>
                  <a:schemeClr val="bg1"/>
                </a:solidFill>
              </a:rPr>
              <a:t> file</a:t>
            </a:r>
          </a:p>
          <a:p>
            <a:pPr marL="0" indent="0" defTabSz="457200">
              <a:buClr>
                <a:schemeClr val="bg1"/>
              </a:buClr>
              <a:buNone/>
            </a:pPr>
            <a:endParaRPr lang="en-US" kern="1200" dirty="0">
              <a:solidFill>
                <a:schemeClr val="bg1"/>
              </a:solidFill>
            </a:endParaRPr>
          </a:p>
          <a:p>
            <a:pPr marL="0" indent="0" defTabSz="457200">
              <a:buClr>
                <a:schemeClr val="bg1"/>
              </a:buClr>
              <a:buNone/>
            </a:pPr>
            <a:endParaRPr lang="en-US" kern="1200" dirty="0">
              <a:solidFill>
                <a:schemeClr val="bg1"/>
              </a:solidFill>
            </a:endParaRPr>
          </a:p>
          <a:p>
            <a:pPr marL="0" defTabSz="457200">
              <a:buClr>
                <a:schemeClr val="bg1"/>
              </a:buClr>
            </a:pPr>
            <a:endParaRPr lang="en-US" kern="1200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26AA68F3-CF42-0CCE-5DF6-EB0AF0ECE9C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7547" b="4"/>
          <a:stretch>
            <a:fillRect/>
          </a:stretch>
        </p:blipFill>
        <p:spPr>
          <a:xfrm>
            <a:off x="4710630" y="1073928"/>
            <a:ext cx="3355181" cy="3265416"/>
          </a:xfrm>
          <a:prstGeom prst="rect">
            <a:avLst/>
          </a:prstGeom>
          <a:noFill/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C3C2B7DA-79A7-3ABD-FEA9-766F388BDCAF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4645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B6A25C-6836-D9D7-2DF4-3C69EBC90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574A9-9A2D-99B4-3971-73ABA88AEC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A477D7-4DE1-625B-CA59-E1508BA0B5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F3E599-E0A7-3A3A-0E45-F56ABA46F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Box Model (content, padding, border, margin)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1AF4B33-1420-CA6C-ED6E-E3AEE53CB04A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279785"/>
          </a:xfrm>
          <a:prstGeom prst="rect">
            <a:avLst/>
          </a:prstGeom>
        </p:spPr>
        <p:txBody>
          <a:bodyPr anchor="t">
            <a:normAutofit lnSpcReduction="10000"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Every element in HTML is a box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CA65867-10FB-A8C5-943F-D00B955660B2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3205CE-0199-EC62-F5C6-387DF58D8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7937" y="1652003"/>
            <a:ext cx="3543643" cy="25415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06DF42-7FBC-00B6-EFC8-CA242B5C7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1652003"/>
            <a:ext cx="4271962" cy="254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5294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D09FE-20CF-4CC4-6424-8893E6332C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B9BB5-02C3-1F14-6581-F1B02DC8F5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9380E2-9ECD-080B-3376-5A738B7C64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1AE2D1-518E-26F2-2FC0-47B9359B2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Media Queries (Responsive Design)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94BE161-E135-1EBA-B9E3-38BBDD5D68F1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0770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📱 Change style based on device width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FA10BE0-CD1A-CDC0-60AF-08490B1422F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95BCCF-04A5-1BAD-761C-52AEF7E8BF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1652001"/>
            <a:ext cx="4760573" cy="27105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EB2997C-BEF2-91B3-3F3F-6DC28E383F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3476" y="1652002"/>
            <a:ext cx="2929123" cy="2710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972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EA141C-F6F7-C819-B8A0-80BBFE4ADF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F38ED59-5FE7-2D2E-CB0A-83C0852B55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5D8AF5-0013-C105-7A14-FE8F00106A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0C8D81-DAE7-7B66-C2DF-80F90D193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Flexbox (Flexible Box Layout)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F8D1BD3-02DD-8C9B-47C4-8D74D77C8E7A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0770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🔄 Arrange items easily in row/column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7867D51A-5819-D0A6-514E-62125BB27E2B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5F57DE-18CF-3802-10A6-7E1C9FA91D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1954146"/>
            <a:ext cx="4872070" cy="14193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657DF0-880D-69AB-D6AA-575D3D745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0033" y="1658880"/>
            <a:ext cx="3645087" cy="231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4204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757AFB-9884-F388-40DA-91610407F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3C7F5A-2571-68BF-F300-C3696F84B5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4729C3-5243-995D-5894-6F54500DB1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2B3393-87BB-ECE2-FF78-293AED2FE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Grid Layout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A0537638-EF5C-CC75-8721-805B239A543D}"/>
              </a:ext>
            </a:extLst>
          </p:cNvPr>
          <p:cNvSpPr txBox="1">
            <a:spLocks/>
          </p:cNvSpPr>
          <p:nvPr/>
        </p:nvSpPr>
        <p:spPr bwMode="gray">
          <a:xfrm>
            <a:off x="302420" y="1109265"/>
            <a:ext cx="3948493" cy="307706"/>
          </a:xfrm>
          <a:prstGeom prst="rect">
            <a:avLst/>
          </a:prstGeom>
        </p:spPr>
        <p:txBody>
          <a:bodyPr anchor="t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45720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🟦 Divide page into rows &amp; columns.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94371A7-A33B-15F9-ADAA-E0FF5BA3DE8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B61039-5246-2651-C314-60E60DED9A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367" y="1702364"/>
            <a:ext cx="3755505" cy="20257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BCA5A5D-E782-5F13-09A1-87C5A8065F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1702364"/>
            <a:ext cx="4048597" cy="2025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90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C2D319-588B-333B-ED1F-74E16D121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8D7AB66-9E8D-90C4-84ED-6358D1D4E7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8D7AB66-9E8D-90C4-84ED-6358D1D4E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BC3F1823-AA3A-3C8E-7A04-83D0130C0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6319" y="2181005"/>
            <a:ext cx="7091362" cy="615553"/>
          </a:xfrm>
        </p:spPr>
        <p:txBody>
          <a:bodyPr/>
          <a:lstStyle/>
          <a:p>
            <a:pPr algn="ctr"/>
            <a:r>
              <a:rPr lang="en-US" b="1" cap="none" dirty="0"/>
              <a:t>For more, please refer</a:t>
            </a:r>
            <a:r>
              <a:rPr lang="en-US" b="1" dirty="0"/>
              <a:t>: </a:t>
            </a:r>
            <a:r>
              <a:rPr lang="en-US" b="1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SS Tutorial</a:t>
            </a:r>
            <a:endParaRPr lang="en-US" b="1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FA2E9A-4C3B-0446-282A-549D24FBA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F01483A-8CCD-C87B-ABBA-AA7EB81F75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1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2366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020E6-4B51-002D-94D6-796FCAE57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44B21A-FFBC-847D-A432-18409328A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44B21A-FFBC-847D-A432-18409328A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AA3D0CD-535E-5264-6D68-BAE46AB0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F92B60-CE3F-A351-3E5E-24D5AE40CE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931EB3-50B2-19F1-137B-D0C1476701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B6C697-FDFC-1F41-6DBF-152C952B6A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202093"/>
            <a:ext cx="7091362" cy="188321"/>
          </a:xfrm>
        </p:spPr>
        <p:txBody>
          <a:bodyPr/>
          <a:lstStyle/>
          <a:p>
            <a:r>
              <a:rPr lang="en-US" dirty="0"/>
              <a:t>JavaScript – Intera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C22927-4502-A519-B613-E1AAB035F2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723190"/>
            <a:ext cx="7091362" cy="2539005"/>
          </a:xfrm>
        </p:spPr>
        <p:txBody>
          <a:bodyPr/>
          <a:lstStyle/>
          <a:p>
            <a:r>
              <a:rPr lang="en-US" dirty="0"/>
              <a:t>JavaScript makes web pages </a:t>
            </a:r>
            <a:r>
              <a:rPr lang="en-US" b="1" dirty="0"/>
              <a:t>dynamic and interactive</a:t>
            </a:r>
            <a:r>
              <a:rPr lang="en-US" dirty="0"/>
              <a:t>. </a:t>
            </a:r>
          </a:p>
          <a:p>
            <a:r>
              <a:rPr lang="en-US" dirty="0"/>
              <a:t>It can respond to </a:t>
            </a:r>
            <a:r>
              <a:rPr lang="en-US" b="1" dirty="0"/>
              <a:t>clicks, inputs, animations, validations</a:t>
            </a:r>
            <a:r>
              <a:rPr lang="en-US" dirty="0"/>
              <a:t>.</a:t>
            </a:r>
          </a:p>
          <a:p>
            <a:r>
              <a:rPr lang="en-US" dirty="0"/>
              <a:t>JavaScript = How it behaves (interactivity)</a:t>
            </a:r>
          </a:p>
          <a:p>
            <a:r>
              <a:rPr lang="en-US" dirty="0">
                <a:solidFill>
                  <a:schemeClr val="accent1"/>
                </a:solidFill>
              </a:rPr>
              <a:t>Example: </a:t>
            </a:r>
            <a:r>
              <a:rPr lang="en-US" dirty="0">
                <a:hlinkClick r:id="rId6"/>
              </a:rPr>
              <a:t>Playground | MDN</a:t>
            </a: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19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E1B8F-7BCF-B902-011E-844392B2D1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A198D8-80A0-7EA8-920B-B131C68C2B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AC0E71-F84E-ABF5-2FCA-B3523579C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275209-6FFB-0810-40BE-818CAADD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Javacript</a:t>
            </a:r>
            <a:r>
              <a:rPr lang="en-US" dirty="0"/>
              <a:t>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6A54D255-1E6E-300B-BF21-624D6B807B73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B6A2A58-3128-8E58-9400-3ED174707EE3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302650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Variables : </a:t>
            </a:r>
            <a:r>
              <a:rPr lang="en-US" sz="14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riable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Date Types: </a:t>
            </a:r>
            <a:r>
              <a:rPr lang="en-US" sz="14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type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Loops:  </a:t>
            </a:r>
            <a:r>
              <a:rPr lang="en-US" sz="1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ops: while and for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Switch statement: </a:t>
            </a:r>
            <a:r>
              <a:rPr lang="en-US" sz="14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"switch" statement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Logical Operators: </a:t>
            </a:r>
            <a:r>
              <a:rPr lang="en-US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ical operator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unctions: </a:t>
            </a:r>
            <a:r>
              <a:rPr lang="en-US" sz="14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ction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Arrow functions: </a:t>
            </a:r>
            <a:r>
              <a:rPr lang="en-US" sz="14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row functions, the basic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Objects: </a:t>
            </a:r>
            <a:r>
              <a:rPr lang="en-US" sz="1400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jects</a:t>
            </a: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4A97E0F-8FD1-5D93-61AD-0B9296AAAC05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Arrays: </a:t>
            </a:r>
            <a:r>
              <a:rPr lang="en-US" sz="1400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ray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 err="1">
                <a:solidFill>
                  <a:schemeClr val="bg1"/>
                </a:solidFill>
              </a:rPr>
              <a:t>Destructuring</a:t>
            </a:r>
            <a:r>
              <a:rPr lang="en-US" sz="1400" dirty="0">
                <a:solidFill>
                  <a:schemeClr val="bg1"/>
                </a:solidFill>
              </a:rPr>
              <a:t> : </a:t>
            </a:r>
            <a:r>
              <a:rPr lang="en-US" sz="1400" dirty="0" err="1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structuring</a:t>
            </a:r>
            <a:r>
              <a:rPr lang="en-US" sz="1400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ssignment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Mouse events: </a:t>
            </a:r>
            <a:r>
              <a:rPr lang="en-US" sz="1400" dirty="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use events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etch: </a:t>
            </a:r>
            <a:r>
              <a:rPr lang="en-US" sz="1400" dirty="0">
                <a:solidFill>
                  <a:schemeClr val="bg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tch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 err="1">
                <a:solidFill>
                  <a:schemeClr val="bg1"/>
                </a:solidFill>
              </a:rPr>
              <a:t>Localstorage</a:t>
            </a:r>
            <a:r>
              <a:rPr lang="en-US" sz="1400" dirty="0">
                <a:solidFill>
                  <a:schemeClr val="bg1"/>
                </a:solidFill>
              </a:rPr>
              <a:t> &amp; </a:t>
            </a:r>
            <a:r>
              <a:rPr lang="en-US" sz="1400" dirty="0" err="1">
                <a:solidFill>
                  <a:schemeClr val="bg1"/>
                </a:solidFill>
              </a:rPr>
              <a:t>Sessionstorage</a:t>
            </a:r>
            <a:r>
              <a:rPr lang="en-US" sz="1400" dirty="0">
                <a:solidFill>
                  <a:schemeClr val="bg1"/>
                </a:solidFill>
              </a:rPr>
              <a:t> :</a:t>
            </a:r>
          </a:p>
          <a:p>
            <a:pPr marL="0" indent="0">
              <a:buClr>
                <a:schemeClr val="bg1"/>
              </a:buClr>
              <a:buNone/>
            </a:pPr>
            <a:r>
              <a:rPr lang="en-US" sz="1400" dirty="0">
                <a:solidFill>
                  <a:schemeClr val="bg1"/>
                </a:solidFill>
              </a:rPr>
              <a:t>   </a:t>
            </a:r>
            <a:r>
              <a:rPr lang="en-US" sz="1400" dirty="0" err="1">
                <a:solidFill>
                  <a:schemeClr val="bg1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calStorage</a:t>
            </a:r>
            <a:r>
              <a:rPr lang="en-US" sz="1400" dirty="0">
                <a:solidFill>
                  <a:schemeClr val="bg1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400" dirty="0" err="1">
                <a:solidFill>
                  <a:schemeClr val="bg1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ssionStorage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 Async/await</a:t>
            </a:r>
          </a:p>
          <a:p>
            <a:pPr marL="0" indent="0">
              <a:buClr>
                <a:schemeClr val="bg1"/>
              </a:buClr>
              <a:buNone/>
            </a:pP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419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B70B14-2B9E-0DFE-282C-79D848D39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12646A-8F6C-FB1B-7D45-66AF7D0780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C11F21-B2E5-D3F7-A44D-2A05C47EE8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3F685C-044A-014E-F218-69ED70EAC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Javacript</a:t>
            </a:r>
            <a:r>
              <a:rPr lang="en-US" dirty="0"/>
              <a:t>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90FA7E92-D230-2939-052F-CE8CB256E26F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F9BD304-D463-E596-7464-F48D1041CFF4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Variables</a:t>
            </a:r>
            <a:r>
              <a:rPr lang="en-US" dirty="0">
                <a:solidFill>
                  <a:schemeClr val="bg1"/>
                </a:solidFill>
              </a:rPr>
              <a:t>: Used to store data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Data Types</a:t>
            </a:r>
            <a:r>
              <a:rPr lang="en-US" dirty="0">
                <a:solidFill>
                  <a:schemeClr val="bg1"/>
                </a:solidFill>
              </a:rPr>
              <a:t>: string, number, </a:t>
            </a:r>
            <a:r>
              <a:rPr lang="en-US" dirty="0" err="1">
                <a:solidFill>
                  <a:schemeClr val="bg1"/>
                </a:solidFill>
              </a:rPr>
              <a:t>boolean</a:t>
            </a:r>
            <a:r>
              <a:rPr lang="en-US" dirty="0">
                <a:solidFill>
                  <a:schemeClr val="bg1"/>
                </a:solidFill>
              </a:rPr>
              <a:t>, object, array, null, undefined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41B62C56-9CEC-FB5E-6949-19553E1399AD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70F09E-C054-3F10-C792-A89E8890E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343" y="1658659"/>
            <a:ext cx="1835244" cy="6096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0961284-4196-04C4-214B-B23C7C1BD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43" y="3534830"/>
            <a:ext cx="2514729" cy="673135"/>
          </a:xfrm>
          <a:prstGeom prst="rect">
            <a:avLst/>
          </a:prstGeom>
        </p:spPr>
      </p:pic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939685-1255-3884-BEE5-4D538F1A6C21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Loops: </a:t>
            </a:r>
            <a:r>
              <a:rPr lang="en-US" dirty="0">
                <a:solidFill>
                  <a:schemeClr val="bg1"/>
                </a:solidFill>
              </a:rPr>
              <a:t>Run code repeatedly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Switch Statement: </a:t>
            </a:r>
            <a:r>
              <a:rPr lang="en-US" dirty="0">
                <a:solidFill>
                  <a:schemeClr val="bg1"/>
                </a:solidFill>
              </a:rPr>
              <a:t>Choose one case out of many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EE692B-CC04-47A0-231E-202920790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7246" y="1658659"/>
            <a:ext cx="1745038" cy="79835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C104DB5-322D-839C-24E8-10C67FCBB7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442" y="1658659"/>
            <a:ext cx="1745038" cy="7983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4BE1E59-B931-096B-F6C3-48767DBCC4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7246" y="3258631"/>
            <a:ext cx="2823828" cy="122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2020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B73AA-F069-FB32-D924-42E110A27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3A2DC66-2F88-A365-4F00-7981EC0C70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6D661E-96C0-A8B1-5E91-16FFAC5846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051B03-08B8-3912-4371-12F312084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Javacript</a:t>
            </a:r>
            <a:r>
              <a:rPr lang="en-US" dirty="0"/>
              <a:t>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32BE599-6EAD-F5E4-2974-5B591BEB8960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E49C9AB-FC67-A35A-A420-D2B7549D5DB7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Logical Operators: </a:t>
            </a:r>
            <a:r>
              <a:rPr lang="en-US" dirty="0">
                <a:solidFill>
                  <a:schemeClr val="bg1"/>
                </a:solidFill>
              </a:rPr>
              <a:t>&amp;&amp; (AND), || (OR), ! (NOT)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Functions:</a:t>
            </a:r>
            <a:r>
              <a:rPr lang="en-US" dirty="0">
                <a:solidFill>
                  <a:schemeClr val="bg1"/>
                </a:solidFill>
              </a:rPr>
              <a:t> Block of code that performs a task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9DD1429-FD82-AB3F-EEE2-2CB834D24AF7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CD6A9CDD-613E-A3EA-E8AA-BC0A97387787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Objects : </a:t>
            </a:r>
            <a:r>
              <a:rPr lang="en-US" dirty="0">
                <a:solidFill>
                  <a:schemeClr val="bg1"/>
                </a:solidFill>
              </a:rPr>
              <a:t>Store data in key-value pairs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Arrow functions: </a:t>
            </a:r>
            <a:r>
              <a:rPr lang="en-US" dirty="0">
                <a:solidFill>
                  <a:schemeClr val="bg1"/>
                </a:solidFill>
              </a:rPr>
              <a:t>Shorter way to write functions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F538D5-FD4D-B10C-C303-650C5EB53B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868" y="1572036"/>
            <a:ext cx="2521080" cy="971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89A2FAE-2516-1BBA-F67A-0FB477D608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868" y="3464856"/>
            <a:ext cx="2152761" cy="9525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66E344E-0636-0953-3DA1-262723893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6404" y="3597409"/>
            <a:ext cx="3092609" cy="50167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56C7556-C6B5-62DF-5261-42C94F2883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6404" y="1572036"/>
            <a:ext cx="2838596" cy="119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32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48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rontend developmen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242392"/>
            <a:ext cx="7091362" cy="2368672"/>
          </a:xfrm>
        </p:spPr>
        <p:txBody>
          <a:bodyPr/>
          <a:lstStyle/>
          <a:p>
            <a:r>
              <a:rPr lang="en-US" dirty="0"/>
              <a:t>Frontend development is the </a:t>
            </a:r>
            <a:r>
              <a:rPr lang="en-US" b="1" dirty="0"/>
              <a:t>visible part of a website</a:t>
            </a:r>
            <a:r>
              <a:rPr lang="en-US" dirty="0"/>
              <a:t> that users see and interact with.</a:t>
            </a:r>
          </a:p>
          <a:p>
            <a:r>
              <a:rPr lang="en-US" dirty="0"/>
              <a:t>It includes </a:t>
            </a:r>
            <a:r>
              <a:rPr lang="en-US" b="1" dirty="0"/>
              <a:t>buttons, text, images, colors, and layout</a:t>
            </a:r>
            <a:r>
              <a:rPr lang="en-US" dirty="0"/>
              <a:t>.</a:t>
            </a:r>
          </a:p>
          <a:p>
            <a:r>
              <a:rPr lang="en-US" dirty="0"/>
              <a:t>Example: When you open YouTube, the videos, buttons, search bar → all are frontend.</a:t>
            </a:r>
            <a:br>
              <a:rPr lang="en-US" dirty="0"/>
            </a:br>
            <a:endParaRPr lang="en-US" dirty="0"/>
          </a:p>
        </p:txBody>
      </p:sp>
      <p:pic>
        <p:nvPicPr>
          <p:cNvPr id="1029" name="Picture 5" descr="Front End Development in Web Development">
            <a:extLst>
              <a:ext uri="{FF2B5EF4-FFF2-40B4-BE49-F238E27FC236}">
                <a16:creationId xmlns:a16="http://schemas.microsoft.com/office/drawing/2014/main" id="{37ACF022-2339-3846-F0AC-06C6069BE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93" y="2734764"/>
            <a:ext cx="260985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>
            <a:extLst>
              <a:ext uri="{FF2B5EF4-FFF2-40B4-BE49-F238E27FC236}">
                <a16:creationId xmlns:a16="http://schemas.microsoft.com/office/drawing/2014/main" id="{7DAEF337-3973-BB7A-4CFA-4721FF02C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313" y="2646852"/>
            <a:ext cx="3488825" cy="196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56798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1A9493-DDF6-8636-21FD-4F7AFC173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965AFA-0D09-CA49-0512-73F99A4A0C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68FD0A-1531-419F-3807-3FF41F578E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1498B0D-BC51-D2E6-0156-0167D0C23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Javacript</a:t>
            </a:r>
            <a:r>
              <a:rPr lang="en-US" dirty="0"/>
              <a:t>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8F0A7F6-DB1B-3FE5-51E8-6F6A78BDF97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1A4CA75-4BFE-6FDC-0FE7-9F8B4F2BB39B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Arrays : </a:t>
            </a:r>
            <a:r>
              <a:rPr lang="en-US" dirty="0">
                <a:solidFill>
                  <a:schemeClr val="bg1"/>
                </a:solidFill>
              </a:rPr>
              <a:t>A collection of values stored in a single variable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 err="1">
                <a:solidFill>
                  <a:schemeClr val="bg1"/>
                </a:solidFill>
              </a:rPr>
              <a:t>Destructuring</a:t>
            </a:r>
            <a:r>
              <a:rPr lang="en-US" b="1" dirty="0">
                <a:solidFill>
                  <a:schemeClr val="bg1"/>
                </a:solidFill>
              </a:rPr>
              <a:t> :</a:t>
            </a:r>
            <a:r>
              <a:rPr lang="en-US" dirty="0">
                <a:solidFill>
                  <a:schemeClr val="bg1"/>
                </a:solidFill>
              </a:rPr>
              <a:t> Extract values from arrays or objects easily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10CC2F49-3453-40E5-E144-5F9B361A0C60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0CF5F1A-591B-E4BE-11E6-D53DB0ED1199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Mouse Events : </a:t>
            </a:r>
            <a:r>
              <a:rPr lang="en-US" dirty="0">
                <a:solidFill>
                  <a:schemeClr val="bg1"/>
                </a:solidFill>
              </a:rPr>
              <a:t>Events that happen when the user interacts with the mouse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Fetch (API calls) : </a:t>
            </a:r>
            <a:r>
              <a:rPr lang="en-US" dirty="0">
                <a:solidFill>
                  <a:schemeClr val="bg1"/>
                </a:solidFill>
              </a:rPr>
              <a:t>Used to get data from a server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623567-1CC0-64A5-34EA-BD3C2F378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868" y="1736179"/>
            <a:ext cx="3321221" cy="5969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F5FA63D-C33F-450F-4B10-BE2255B393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868" y="3597409"/>
            <a:ext cx="1828894" cy="80649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6BBA780-A640-31AF-0A02-6E48B97F92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9820" y="1898112"/>
            <a:ext cx="4191215" cy="27306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D02E010-8535-A790-0900-50F255D61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9820" y="2326769"/>
            <a:ext cx="4187121" cy="2457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9B8FDF3-EB54-5760-720E-E12C3E2F56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5204" y="3591280"/>
            <a:ext cx="3949903" cy="704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0088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0E0DA-0728-97A3-B045-45248B387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D76212-055B-2A8B-F59F-08EA3EDBA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5F50D6-3829-AC5D-0030-684869332E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CEF13E-AFF4-0749-FD63-600F3D73A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Javacript</a:t>
            </a:r>
            <a:r>
              <a:rPr lang="en-US" dirty="0"/>
              <a:t>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5F2198DA-BF0C-2851-CBCC-B48B12BFDE8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C65D5B3F-40E7-E39F-0511-EAB5BDF6A5D5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413095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 err="1">
                <a:solidFill>
                  <a:schemeClr val="bg1"/>
                </a:solidFill>
              </a:rPr>
              <a:t>LocalStorage</a:t>
            </a:r>
            <a:r>
              <a:rPr lang="en-US" b="1" dirty="0">
                <a:solidFill>
                  <a:schemeClr val="bg1"/>
                </a:solidFill>
              </a:rPr>
              <a:t> &amp; </a:t>
            </a:r>
            <a:r>
              <a:rPr lang="en-US" b="1" dirty="0" err="1">
                <a:solidFill>
                  <a:schemeClr val="bg1"/>
                </a:solidFill>
              </a:rPr>
              <a:t>SessionStorage</a:t>
            </a:r>
            <a:r>
              <a:rPr lang="en-US" b="1" dirty="0">
                <a:solidFill>
                  <a:schemeClr val="bg1"/>
                </a:solidFill>
              </a:rPr>
              <a:t> : </a:t>
            </a:r>
            <a:r>
              <a:rPr lang="en-US" dirty="0">
                <a:solidFill>
                  <a:schemeClr val="bg1"/>
                </a:solidFill>
              </a:rPr>
              <a:t>Store data in the browser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75735F7B-22FD-9962-7F06-055E4D919ED3}"/>
              </a:ext>
            </a:extLst>
          </p:cNvPr>
          <p:cNvSpPr txBox="1">
            <a:spLocks/>
          </p:cNvSpPr>
          <p:nvPr/>
        </p:nvSpPr>
        <p:spPr>
          <a:xfrm>
            <a:off x="5133086" y="1127917"/>
            <a:ext cx="363720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2E52B72-4758-CC8D-D18A-AEC0CE0288B0}"/>
              </a:ext>
            </a:extLst>
          </p:cNvPr>
          <p:cNvSpPr txBox="1">
            <a:spLocks/>
          </p:cNvSpPr>
          <p:nvPr/>
        </p:nvSpPr>
        <p:spPr>
          <a:xfrm>
            <a:off x="4470026" y="1201365"/>
            <a:ext cx="4300261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Async/Await : </a:t>
            </a:r>
            <a:r>
              <a:rPr lang="en-US" dirty="0">
                <a:solidFill>
                  <a:schemeClr val="bg1"/>
                </a:solidFill>
              </a:rPr>
              <a:t>A cleaner way to write asynchronous code.</a:t>
            </a:r>
          </a:p>
          <a:p>
            <a:pPr marL="0" indent="0">
              <a:buClr>
                <a:schemeClr val="bg1"/>
              </a:buClr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b="1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EB8C8D-735C-519D-F0FF-BD897F1B23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966" y="1985760"/>
            <a:ext cx="3342255" cy="146941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AA6E322-39A5-98AB-7A50-25BCAFDEF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7000" y="1949138"/>
            <a:ext cx="3949944" cy="96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768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464884-02F0-0382-DE86-9A421E1E3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7C0741-614D-6EA7-1407-1BA3E60B42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7C0741-614D-6EA7-1407-1BA3E60B4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592BA40-A5DC-81D8-17F4-66F42D223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93" y="2151843"/>
            <a:ext cx="8474013" cy="841401"/>
          </a:xfrm>
        </p:spPr>
        <p:txBody>
          <a:bodyPr/>
          <a:lstStyle/>
          <a:p>
            <a:r>
              <a:rPr lang="en-US" cap="none" dirty="0"/>
              <a:t>For more, please refer</a:t>
            </a:r>
            <a:r>
              <a:rPr lang="en-US" dirty="0"/>
              <a:t>: </a:t>
            </a:r>
            <a:r>
              <a:rPr lang="en-US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Modern JavaScript Tutorial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8A13A3-20C7-25EB-DA4F-AA4C4938BA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070609D-AF55-35D8-1ADB-D5B78052F8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96766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3687D-0487-8D7C-586C-ED77C575D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B707F3-6196-EB39-B9ED-1D3524A0D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Tool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3A7C92-91F2-5AE5-B96D-8AE32B7AF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19E085-D95F-F00F-143D-B1506BF99E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AAD3E2C-A803-6A46-085E-BE34B5687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660" y="1113393"/>
            <a:ext cx="7091362" cy="1712911"/>
          </a:xfrm>
        </p:spPr>
        <p:txBody>
          <a:bodyPr/>
          <a:lstStyle/>
          <a:p>
            <a:r>
              <a:rPr lang="en-US" dirty="0"/>
              <a:t>Built inside Chrome (Right click → Inspect).</a:t>
            </a:r>
          </a:p>
          <a:p>
            <a:r>
              <a:rPr lang="en-US" dirty="0"/>
              <a:t>Used by developers to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Inspect elements</a:t>
            </a:r>
            <a:r>
              <a:rPr lang="en-US" dirty="0"/>
              <a:t> (see the HTML &amp; CSS behind a page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Debug JavaScript</a:t>
            </a:r>
            <a:r>
              <a:rPr lang="en-US" dirty="0"/>
              <a:t> (find and fix errors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Check responsiveness</a:t>
            </a:r>
            <a:r>
              <a:rPr lang="en-US" dirty="0"/>
              <a:t> (how a website looks on mobile/desktop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8C459260-035B-99C1-88F0-CE844B7C1C8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672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351E49-86FA-B6D7-6223-5539F947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2060A-D8F3-DEEF-1CEF-E5AFD55A8C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AD7A2D-F2CF-15DD-2D79-254CD41AC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62E56D-F9B5-BC04-C764-2814FAB38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124" name="Picture 4" descr="The Inspect option in a drop-down menu in Chrome.">
            <a:extLst>
              <a:ext uri="{FF2B5EF4-FFF2-40B4-BE49-F238E27FC236}">
                <a16:creationId xmlns:a16="http://schemas.microsoft.com/office/drawing/2014/main" id="{11BEAD29-AB20-6767-8719-8300FF2AA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499" y="747846"/>
            <a:ext cx="6735848" cy="425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4D8E35A-1236-FD4F-D369-3A23C73AFCC0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0124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09220-3C97-4B12-B491-374443DC33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228013-0A37-948E-7AE2-A2F6B90D8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42A8FF-A1E8-9891-E9CB-4EB5737043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C4C995-2DFB-9BCC-4077-9283C3361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" name="Picture 8" descr="The Debugger to the right of the wide window.">
            <a:extLst>
              <a:ext uri="{FF2B5EF4-FFF2-40B4-BE49-F238E27FC236}">
                <a16:creationId xmlns:a16="http://schemas.microsoft.com/office/drawing/2014/main" id="{C4C14E67-24B5-B477-A0DF-8B9C701C4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631" y="918765"/>
            <a:ext cx="6912151" cy="369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FBF77E-5846-F176-4BA6-B65CB1491C54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5480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7E4B2-E59A-76A7-4B81-AEDA10713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EB577-A7B4-CDB4-6BE3-6C1E825074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7AE0B1-756D-099E-9E75-DECB376869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E2919-8009-7F1B-7FF4-87A6DF906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8" name="Picture 6" descr="The width presets bar.">
            <a:extLst>
              <a:ext uri="{FF2B5EF4-FFF2-40B4-BE49-F238E27FC236}">
                <a16:creationId xmlns:a16="http://schemas.microsoft.com/office/drawing/2014/main" id="{28E8C03E-7778-48C5-C74B-7F11761FBE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86625" y="918765"/>
            <a:ext cx="5270015" cy="377051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7A0207C6-8055-4C02-3546-F425009E4E0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1093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4451-15E5-04FB-1A1E-5A8690F58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367352-5BC4-A02B-ACCA-4D7CF2925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367352-5BC4-A02B-ACCA-4D7CF2925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EFFEAC-43FB-2C0B-F818-92F0BB61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6D13F7-B0DD-0A3F-9A83-A40E1662C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03B3D7-FC05-091F-ED9F-886360709F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7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4AAAD1-85D6-7983-840F-59E00D4747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810" y="1018685"/>
            <a:ext cx="2098191" cy="249160"/>
          </a:xfrm>
        </p:spPr>
        <p:txBody>
          <a:bodyPr/>
          <a:lstStyle/>
          <a:p>
            <a:r>
              <a:rPr lang="en-US" dirty="0"/>
              <a:t>Browser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C7668-AA72-FDED-2FE3-6AFB8C54C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429670"/>
            <a:ext cx="7091362" cy="580301"/>
          </a:xfrm>
        </p:spPr>
        <p:txBody>
          <a:bodyPr/>
          <a:lstStyle/>
          <a:p>
            <a:r>
              <a:rPr lang="en-US" dirty="0"/>
              <a:t>A browser is the </a:t>
            </a:r>
            <a:r>
              <a:rPr lang="en-US" b="1" dirty="0"/>
              <a:t>tool you use to visit websites</a:t>
            </a:r>
            <a:r>
              <a:rPr lang="en-US" dirty="0"/>
              <a:t>. When you type www.google.com in the address bar, the browser sends a request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50D75F6-A1F9-C5D2-EB66-32E633374B68}"/>
              </a:ext>
            </a:extLst>
          </p:cNvPr>
          <p:cNvSpPr txBox="1">
            <a:spLocks/>
          </p:cNvSpPr>
          <p:nvPr/>
        </p:nvSpPr>
        <p:spPr bwMode="gray">
          <a:xfrm>
            <a:off x="341810" y="2009971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rver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5D6CACE-FEA3-F33D-6AA1-E99F1BCC5EF1}"/>
              </a:ext>
            </a:extLst>
          </p:cNvPr>
          <p:cNvSpPr txBox="1">
            <a:spLocks/>
          </p:cNvSpPr>
          <p:nvPr/>
        </p:nvSpPr>
        <p:spPr bwMode="gray">
          <a:xfrm>
            <a:off x="300038" y="2337718"/>
            <a:ext cx="7091362" cy="615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</a:t>
            </a:r>
            <a:r>
              <a:rPr lang="en-US" b="1" dirty="0"/>
              <a:t>server is a powerful computer</a:t>
            </a:r>
            <a:r>
              <a:rPr lang="en-US" dirty="0"/>
              <a:t> that stores websites. When your browser asks for a page, the server sends back the </a:t>
            </a:r>
            <a:r>
              <a:rPr lang="en-US" b="1" dirty="0"/>
              <a:t>HTML, CSS, and JavaScript files</a:t>
            </a:r>
            <a:endParaRPr lang="en-US" dirty="0"/>
          </a:p>
        </p:txBody>
      </p:sp>
      <p:pic>
        <p:nvPicPr>
          <p:cNvPr id="3080" name="Picture 8" descr="Google Chrome PNG Images - CleanPNG">
            <a:extLst>
              <a:ext uri="{FF2B5EF4-FFF2-40B4-BE49-F238E27FC236}">
                <a16:creationId xmlns:a16="http://schemas.microsoft.com/office/drawing/2014/main" id="{34019E49-C474-8F33-21E5-85DE57290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68" y="1014501"/>
            <a:ext cx="250193" cy="26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Firefox Logo transparent PNG - StickPNG">
            <a:extLst>
              <a:ext uri="{FF2B5EF4-FFF2-40B4-BE49-F238E27FC236}">
                <a16:creationId xmlns:a16="http://schemas.microsoft.com/office/drawing/2014/main" id="{A7CA63AD-1EE1-4376-678B-98470C5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905" y="993795"/>
            <a:ext cx="270044" cy="28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7C0F1331-D379-4DB9-63D0-BD7F7B5D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993" y="1003319"/>
            <a:ext cx="270045" cy="27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Generated image">
            <a:extLst>
              <a:ext uri="{FF2B5EF4-FFF2-40B4-BE49-F238E27FC236}">
                <a16:creationId xmlns:a16="http://schemas.microsoft.com/office/drawing/2014/main" id="{3CF74EAC-7769-1942-2489-4E4064CE5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861" y="2953271"/>
            <a:ext cx="4068857" cy="16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8935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3FB4D-4A4C-5808-E782-93F505B98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1E8489-9739-58FC-7320-11A3E185B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31E8489-9739-58FC-7320-11A3E185B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DCD1C6B0-CA63-AC7B-6F60-D61D4F2AB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39A735-BC7F-BC4E-D84F-5C5114189C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AC9935-591A-1B26-6C51-B97854E3C9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8</a:t>
            </a:fld>
            <a:endParaRPr lang="en-US" noProof="0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89C7623-D0ED-6B8B-9C1D-39F4E36E8A6C}"/>
              </a:ext>
            </a:extLst>
          </p:cNvPr>
          <p:cNvSpPr txBox="1">
            <a:spLocks/>
          </p:cNvSpPr>
          <p:nvPr/>
        </p:nvSpPr>
        <p:spPr bwMode="gray">
          <a:xfrm>
            <a:off x="302420" y="1610586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13" name="Picture 12" descr="A diagram of a cloud computing system">
            <a:extLst>
              <a:ext uri="{FF2B5EF4-FFF2-40B4-BE49-F238E27FC236}">
                <a16:creationId xmlns:a16="http://schemas.microsoft.com/office/drawing/2014/main" id="{003124DD-6AA0-532B-9CC7-4F7A0EA763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827" y="842407"/>
            <a:ext cx="6190972" cy="2808214"/>
          </a:xfrm>
          <a:prstGeom prst="rect">
            <a:avLst/>
          </a:prstGeom>
        </p:spPr>
      </p:pic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1EF0E18C-3BE3-52FD-D83E-C6F182C5FDFA}"/>
              </a:ext>
            </a:extLst>
          </p:cNvPr>
          <p:cNvSpPr txBox="1">
            <a:spLocks/>
          </p:cNvSpPr>
          <p:nvPr/>
        </p:nvSpPr>
        <p:spPr bwMode="gray">
          <a:xfrm>
            <a:off x="341810" y="3451164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(Application Programming Interfaces)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A30D743-B4A6-D96B-54C2-7B7CC11E23FC}"/>
              </a:ext>
            </a:extLst>
          </p:cNvPr>
          <p:cNvSpPr txBox="1">
            <a:spLocks/>
          </p:cNvSpPr>
          <p:nvPr/>
        </p:nvSpPr>
        <p:spPr bwMode="gray">
          <a:xfrm>
            <a:off x="327632" y="3802354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are like </a:t>
            </a:r>
            <a:r>
              <a:rPr lang="en-US" b="1" dirty="0"/>
              <a:t>messengers</a:t>
            </a:r>
            <a:r>
              <a:rPr lang="en-US" dirty="0"/>
              <a:t> that allow different apps or services to talk to each other.</a:t>
            </a:r>
          </a:p>
          <a:p>
            <a:r>
              <a:rPr lang="en-US" b="1" dirty="0"/>
              <a:t>Example</a:t>
            </a:r>
            <a:r>
              <a:rPr lang="en-US" dirty="0"/>
              <a:t>: When a website shows </a:t>
            </a:r>
            <a:r>
              <a:rPr lang="en-US" b="1" dirty="0"/>
              <a:t>Google Maps</a:t>
            </a:r>
            <a:r>
              <a:rPr lang="en-US" dirty="0"/>
              <a:t>, it uses the </a:t>
            </a:r>
            <a:r>
              <a:rPr lang="en-US" b="1" dirty="0"/>
              <a:t>Google Maps API</a:t>
            </a:r>
            <a:r>
              <a:rPr lang="en-US" dirty="0"/>
              <a:t> to fetch data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4660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4BFDD-216A-AF55-8835-8A72B0C1C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6D37B4-AF0E-46F6-FCE2-48C37E0C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VS Co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162FED-278D-D633-F102-0CF26F04F4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F4F6AF-57E1-9C28-8A45-D9AFEE778C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B4D34F3-526F-CE6C-6351-F4D230C09F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2498429"/>
          </a:xfrm>
        </p:spPr>
        <p:txBody>
          <a:bodyPr/>
          <a:lstStyle/>
          <a:p>
            <a:r>
              <a:rPr lang="en-US" b="1" dirty="0"/>
              <a:t>Visual Studio Code (VS Code)</a:t>
            </a:r>
            <a:r>
              <a:rPr lang="en-US" dirty="0"/>
              <a:t> = a free code editor for writing programs.</a:t>
            </a:r>
          </a:p>
          <a:p>
            <a:r>
              <a:rPr lang="en-US" dirty="0"/>
              <a:t>Supports </a:t>
            </a:r>
            <a:r>
              <a:rPr lang="en-US" b="1" dirty="0"/>
              <a:t>HTML, CSS, JavaScript</a:t>
            </a:r>
            <a:r>
              <a:rPr lang="en-US" dirty="0"/>
              <a:t>, and many more languages.</a:t>
            </a:r>
          </a:p>
          <a:p>
            <a:r>
              <a:rPr lang="en-US" dirty="0"/>
              <a:t>Features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Extensions</a:t>
            </a:r>
            <a:r>
              <a:rPr lang="en-US" dirty="0"/>
              <a:t> (to make coding easier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Themes</a:t>
            </a:r>
            <a:r>
              <a:rPr lang="en-US" dirty="0"/>
              <a:t> (customize look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Built-in terminal</a:t>
            </a:r>
            <a:r>
              <a:rPr lang="en-US" dirty="0"/>
              <a:t> (run commands).</a:t>
            </a:r>
          </a:p>
        </p:txBody>
      </p:sp>
    </p:spTree>
    <p:extLst>
      <p:ext uri="{BB962C8B-B14F-4D97-AF65-F5344CB8AC3E}">
        <p14:creationId xmlns:p14="http://schemas.microsoft.com/office/powerpoint/2010/main" val="3649489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0883F-F124-4187-9967-B03237F827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92312"/>
            <a:ext cx="7091362" cy="188321"/>
          </a:xfrm>
        </p:spPr>
        <p:txBody>
          <a:bodyPr/>
          <a:lstStyle/>
          <a:p>
            <a:r>
              <a:rPr lang="en-US" dirty="0"/>
              <a:t>HTML (</a:t>
            </a:r>
            <a:r>
              <a:rPr lang="en-US" dirty="0" err="1"/>
              <a:t>HyperText</a:t>
            </a:r>
            <a:r>
              <a:rPr lang="en-US" dirty="0"/>
              <a:t> Markup Language) – Structu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513771"/>
            <a:ext cx="7091362" cy="2539005"/>
          </a:xfrm>
        </p:spPr>
        <p:txBody>
          <a:bodyPr/>
          <a:lstStyle/>
          <a:p>
            <a:r>
              <a:rPr lang="en-US" dirty="0"/>
              <a:t>HTML is the </a:t>
            </a:r>
            <a:r>
              <a:rPr lang="en-US" b="1" dirty="0"/>
              <a:t>skeleton</a:t>
            </a:r>
            <a:r>
              <a:rPr lang="en-US" dirty="0"/>
              <a:t> of a web page.</a:t>
            </a:r>
          </a:p>
          <a:p>
            <a:r>
              <a:rPr lang="en-US" dirty="0"/>
              <a:t>It defines </a:t>
            </a:r>
            <a:r>
              <a:rPr lang="en-US" b="1" dirty="0"/>
              <a:t>headings, paragraphs, images, links, tables, forms</a:t>
            </a:r>
            <a:r>
              <a:rPr lang="en-US" dirty="0"/>
              <a:t>, etc.</a:t>
            </a:r>
          </a:p>
          <a:p>
            <a:r>
              <a:rPr lang="en-US" dirty="0"/>
              <a:t>HTML = What you see (content).</a:t>
            </a:r>
          </a:p>
          <a:p>
            <a:pPr marL="0" indent="0">
              <a:buNone/>
            </a:pPr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080895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FE8CF-00AB-7098-0780-4DD092B40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FBF6E3-0EA4-553F-7B52-56AC215FB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4A9BC-0E30-4764-9E37-13BE9046AF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0AD5F32-B918-473A-D1D2-584FBE2FC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D784FB-97BB-0C31-F6B3-780689449B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49" y="1039475"/>
            <a:ext cx="6263782" cy="3450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8133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6662C-14C5-73E9-451A-DA3764BA3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EF89EC-581A-E73A-4380-43FE781FBE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E4A1BC-92D4-957C-1418-9A5CDA8489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9E66D-DA89-5DB6-CC65-EF083A505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10242" name="Picture 2" descr="Open the terminal">
            <a:extLst>
              <a:ext uri="{FF2B5EF4-FFF2-40B4-BE49-F238E27FC236}">
                <a16:creationId xmlns:a16="http://schemas.microsoft.com/office/drawing/2014/main" id="{5532B730-7423-4FF8-117C-7FAFEFC04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5826" y="1116245"/>
            <a:ext cx="6215466" cy="3265416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145107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AF05CE2-D153-D5CC-D22A-B60EEC3D08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FF2616-0E58-458D-E7C7-083887064B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1"/>
            <a:ext cx="9143999" cy="514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0888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655F8-D883-D0CE-5333-E45B3A31CF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01B7ECC-E7D3-87B6-E897-E6CB7D4F8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01B7ECC-E7D3-87B6-E897-E6CB7D4F8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88C23F9-3572-C1D1-CB63-762555C01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47B37E1-2A1C-755E-D015-5D8B30D50B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E7C6AA6-B143-FD7C-92B4-2CF96684BF7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9" b="7799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9815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F80EAB-01F0-89F6-1A33-FCEA65CB0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E88E53-E4A6-21D8-A558-4E42E32927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D5478C-CE97-DC41-D00E-9B24EC4FE1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9C8B91-87E7-2889-090E-E46BA5435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Introduction to react</a:t>
            </a:r>
          </a:p>
        </p:txBody>
      </p:sp>
      <p:pic>
        <p:nvPicPr>
          <p:cNvPr id="1026" name="Picture 2" descr="Generated image">
            <a:extLst>
              <a:ext uri="{FF2B5EF4-FFF2-40B4-BE49-F238E27FC236}">
                <a16:creationId xmlns:a16="http://schemas.microsoft.com/office/drawing/2014/main" id="{F0E12A8F-6CF2-383B-FB94-6DE3E43C3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976" y="1026067"/>
            <a:ext cx="5896792" cy="330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8018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4C431E-130D-E399-56ED-3D7B8F082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577CFF-241D-FBD8-1045-BE0880F4D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B108A9-EF50-691C-C4DD-915131738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782ED0-5FC9-BBB9-CD0F-E5F1ED02AA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178A31A-4F37-D5F6-1D34-DD5BCE1747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1476795"/>
          </a:xfrm>
        </p:spPr>
        <p:txBody>
          <a:bodyPr/>
          <a:lstStyle/>
          <a:p>
            <a:r>
              <a:rPr lang="en-US" dirty="0"/>
              <a:t>📦 </a:t>
            </a:r>
            <a:r>
              <a:rPr lang="en-US" b="1" dirty="0"/>
              <a:t>Component-based</a:t>
            </a:r>
            <a:r>
              <a:rPr lang="en-US" dirty="0"/>
              <a:t> → Breaks big app into small pieces.</a:t>
            </a:r>
          </a:p>
          <a:p>
            <a:r>
              <a:rPr lang="en-US" dirty="0"/>
              <a:t>⚡ </a:t>
            </a:r>
            <a:r>
              <a:rPr lang="en-US" b="1" dirty="0"/>
              <a:t>Fast</a:t>
            </a:r>
            <a:r>
              <a:rPr lang="en-US" dirty="0"/>
              <a:t> → React updates only the part of the screen that changes.</a:t>
            </a:r>
          </a:p>
          <a:p>
            <a:r>
              <a:rPr lang="en-US" dirty="0"/>
              <a:t>🔄 </a:t>
            </a:r>
            <a:r>
              <a:rPr lang="en-US" b="1" dirty="0"/>
              <a:t>Reusable</a:t>
            </a:r>
            <a:r>
              <a:rPr lang="en-US" dirty="0"/>
              <a:t> → Build once, use many times.</a:t>
            </a:r>
          </a:p>
          <a:p>
            <a:r>
              <a:rPr lang="en-US" dirty="0"/>
              <a:t>🌍 </a:t>
            </a:r>
            <a:r>
              <a:rPr lang="en-US" b="1" dirty="0"/>
              <a:t>Popular</a:t>
            </a:r>
            <a:r>
              <a:rPr lang="en-US" dirty="0"/>
              <a:t> → Used by companies like Instagram, Netflix, Flipkart, etc.        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3DF9065D-C715-0BAE-4033-C61C8F6386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2478383"/>
            <a:ext cx="3919060" cy="188321"/>
          </a:xfrm>
        </p:spPr>
        <p:txBody>
          <a:bodyPr/>
          <a:lstStyle/>
          <a:p>
            <a:pPr lvl="0"/>
            <a:r>
              <a:rPr lang="en-US" dirty="0"/>
              <a:t>How React work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260E21CC-E164-8D93-AC94-6704220FC999}"/>
              </a:ext>
            </a:extLst>
          </p:cNvPr>
          <p:cNvSpPr txBox="1">
            <a:spLocks/>
          </p:cNvSpPr>
          <p:nvPr/>
        </p:nvSpPr>
        <p:spPr bwMode="gray">
          <a:xfrm>
            <a:off x="302420" y="2952537"/>
            <a:ext cx="7091362" cy="1476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Break UI into Components</a:t>
            </a:r>
            <a:r>
              <a:rPr lang="en-US" dirty="0"/>
              <a:t> → (e.g., Button, Header, Footer). </a:t>
            </a:r>
          </a:p>
          <a:p>
            <a:r>
              <a:rPr lang="en-US" b="1" dirty="0"/>
              <a:t>Write JSX</a:t>
            </a:r>
            <a:r>
              <a:rPr lang="en-US" dirty="0"/>
              <a:t> → Code looks like HTML inside JavaScript.</a:t>
            </a:r>
          </a:p>
          <a:p>
            <a:r>
              <a:rPr lang="en-US" b="1" dirty="0"/>
              <a:t>Virtual DOM</a:t>
            </a:r>
            <a:r>
              <a:rPr lang="en-US" dirty="0"/>
              <a:t> → React tracks changes and updates only what’s needed.</a:t>
            </a:r>
          </a:p>
          <a:p>
            <a:r>
              <a:rPr lang="en-US" b="1" dirty="0"/>
              <a:t>Render UI</a:t>
            </a:r>
            <a:r>
              <a:rPr lang="en-US" dirty="0"/>
              <a:t> → Browser shows updated content instantly.</a:t>
            </a:r>
          </a:p>
        </p:txBody>
      </p:sp>
    </p:spTree>
    <p:extLst>
      <p:ext uri="{BB962C8B-B14F-4D97-AF65-F5344CB8AC3E}">
        <p14:creationId xmlns:p14="http://schemas.microsoft.com/office/powerpoint/2010/main" val="35461954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298C77-CD41-7848-A67A-357FC2D7F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2961E1-423C-1277-7D45-F47FE0523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a React Project with Vi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21F1AF-EF97-D0EE-9E8C-0D8AE6BD90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FD5D4E-D386-4BED-5B9E-26C3972C18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30A07A-2079-C05E-4819-88200AA197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1800" y="3349107"/>
            <a:ext cx="7091362" cy="1476795"/>
          </a:xfrm>
        </p:spPr>
        <p:txBody>
          <a:bodyPr/>
          <a:lstStyle/>
          <a:p>
            <a:r>
              <a:rPr lang="en-US" dirty="0"/>
              <a:t>Open VS Code → Command prompt</a:t>
            </a:r>
            <a:endParaRPr lang="en-US" b="1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6BA039A2-05E3-B470-1A6F-50A18922C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800" y="2764216"/>
            <a:ext cx="3919060" cy="188321"/>
          </a:xfrm>
        </p:spPr>
        <p:txBody>
          <a:bodyPr/>
          <a:lstStyle/>
          <a:p>
            <a:r>
              <a:rPr lang="en-US" dirty="0"/>
              <a:t>Create a React Project with Vit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EDFDA3A-1FB9-7025-2FCB-2DC3E1D7E939}"/>
              </a:ext>
            </a:extLst>
          </p:cNvPr>
          <p:cNvSpPr txBox="1">
            <a:spLocks/>
          </p:cNvSpPr>
          <p:nvPr/>
        </p:nvSpPr>
        <p:spPr bwMode="gray">
          <a:xfrm>
            <a:off x="302420" y="2952537"/>
            <a:ext cx="7091362" cy="1476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1A8FA8E-0934-0A61-3B45-1421D5EDBB81}"/>
              </a:ext>
            </a:extLst>
          </p:cNvPr>
          <p:cNvSpPr txBox="1">
            <a:spLocks/>
          </p:cNvSpPr>
          <p:nvPr/>
        </p:nvSpPr>
        <p:spPr bwMode="gray">
          <a:xfrm>
            <a:off x="459343" y="1500576"/>
            <a:ext cx="7091362" cy="8357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rerequisites:</a:t>
            </a:r>
          </a:p>
          <a:p>
            <a:r>
              <a:rPr lang="en-US" dirty="0"/>
              <a:t>✅ Install </a:t>
            </a:r>
            <a:r>
              <a:rPr lang="en-US" b="1" dirty="0"/>
              <a:t>Node.js</a:t>
            </a:r>
            <a:r>
              <a:rPr lang="en-US" dirty="0"/>
              <a:t> (latest LTS version) → https://nodejs.org</a:t>
            </a:r>
            <a:br>
              <a:rPr lang="en-US" dirty="0"/>
            </a:br>
            <a:r>
              <a:rPr lang="en-US" dirty="0"/>
              <a:t>✅ Install a </a:t>
            </a:r>
            <a:r>
              <a:rPr lang="en-US" b="1" dirty="0"/>
              <a:t>code editor</a:t>
            </a:r>
            <a:r>
              <a:rPr lang="en-US" dirty="0"/>
              <a:t> (VS Code).</a:t>
            </a:r>
          </a:p>
          <a:p>
            <a:pPr marL="0" indent="0"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7091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D47FCE-630B-9643-1A7E-4B3F08A83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B9891E-C076-8007-61CF-002C5ED8C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9060" cy="61555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>
                <a:latin typeface="+mj-lt"/>
                <a:ea typeface="+mj-ea"/>
                <a:cs typeface="+mj-cs"/>
              </a:rPr>
              <a:t>Create a react projec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EB2128-F3E0-9047-DDA9-96F968307A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7D8166-859B-260F-1DFD-2F68544A92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7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44FE8BC-3926-8EAA-D913-AD9C37C5D0AA}"/>
              </a:ext>
            </a:extLst>
          </p:cNvPr>
          <p:cNvSpPr txBox="1">
            <a:spLocks/>
          </p:cNvSpPr>
          <p:nvPr/>
        </p:nvSpPr>
        <p:spPr bwMode="gray">
          <a:xfrm>
            <a:off x="300038" y="1492249"/>
            <a:ext cx="3470275" cy="143383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4000"/>
              </a:lnSpc>
              <a:buNone/>
            </a:pPr>
            <a:r>
              <a:rPr lang="en-US" sz="2000" kern="1200" dirty="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rPr>
              <a:t>Open the link (e.g., </a:t>
            </a:r>
            <a:r>
              <a:rPr lang="en-US" sz="2000" b="1" kern="1200" dirty="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rPr>
              <a:t>http://localhost:5173/) </a:t>
            </a:r>
            <a:r>
              <a:rPr lang="en-US" sz="2000" kern="1200" dirty="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rPr>
              <a:t>in the browser → Your React app is running 🎉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F5FE966-4A3D-4C79-F81D-2906AD05B9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0263" y="254675"/>
            <a:ext cx="3857044" cy="447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4195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9EA7F-B4A9-EDEC-F897-0BEB60E9EE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18B059-EA60-7BF1-64AD-5D2C1E558D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E506F4-D56D-33A7-053A-9A7B55643A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AD7F02-6938-A516-53B9-37571BCF5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Project stru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6EF97C-CF0D-E443-BF79-32B022ED5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49" y="918765"/>
            <a:ext cx="8132717" cy="331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8141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05EA043-A34B-4FED-BA0C-D5369501B6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D5B133-2FE6-44EF-A08D-E6D08AC1C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5E5A26-0892-491F-985B-FAC616EBA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X – Writing HTML inside JavaScrip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62710EB-B4A2-4467-81F0-6E3BBD3C0C6B}"/>
              </a:ext>
            </a:extLst>
          </p:cNvPr>
          <p:cNvSpPr txBox="1"/>
          <p:nvPr/>
        </p:nvSpPr>
        <p:spPr>
          <a:xfrm>
            <a:off x="300038" y="1492249"/>
            <a:ext cx="2404251" cy="3060296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wrap="square" lIns="108000" tIns="108000" rIns="108000" bIns="10800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rgbClr val="E1000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200" b="1" dirty="0">
                <a:solidFill>
                  <a:srgbClr val="E1000F"/>
                </a:solidFill>
                <a:latin typeface="Segoe UI"/>
              </a:rPr>
              <a:t>HTML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1000F"/>
              </a:solidFill>
              <a:effectLst/>
              <a:uLnTx/>
              <a:uFillTx/>
              <a:latin typeface="Segoe UI"/>
            </a:endParaRP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&lt;!DOCTYPE html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&lt;html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head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  &lt;title&gt;HTML Example&lt;/title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/head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body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  &lt;h1&gt;Hello World&lt;/h1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  &lt;/body&gt;</a:t>
            </a:r>
          </a:p>
          <a:p>
            <a:pPr>
              <a:buClr>
                <a:schemeClr val="accent1"/>
              </a:buClr>
            </a:pPr>
            <a:r>
              <a:rPr lang="en-US" sz="1200" dirty="0">
                <a:solidFill>
                  <a:prstClr val="black"/>
                </a:solidFill>
              </a:rPr>
              <a:t>&lt;/html&gt;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971284D-F162-4247-9C4D-5CC2E15BF387}"/>
              </a:ext>
            </a:extLst>
          </p:cNvPr>
          <p:cNvSpPr txBox="1"/>
          <p:nvPr/>
        </p:nvSpPr>
        <p:spPr>
          <a:xfrm>
            <a:off x="2937753" y="1492250"/>
            <a:ext cx="3005847" cy="306029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wrap="square" lIns="108000" tIns="108000" rIns="108000" bIns="10800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rgbClr val="E1000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200" b="1" dirty="0">
                <a:solidFill>
                  <a:srgbClr val="E1000F"/>
                </a:solidFill>
                <a:latin typeface="Segoe UI"/>
              </a:rPr>
              <a:t>JAVACRIPT</a:t>
            </a:r>
          </a:p>
          <a:p>
            <a:r>
              <a:rPr lang="en-US" sz="1200" dirty="0"/>
              <a:t>&lt;script&gt;</a:t>
            </a:r>
          </a:p>
          <a:p>
            <a:endParaRPr lang="en-US" sz="1200" dirty="0"/>
          </a:p>
          <a:p>
            <a:r>
              <a:rPr lang="en-US" sz="1200" dirty="0"/>
              <a:t>const name = "World";</a:t>
            </a:r>
          </a:p>
          <a:p>
            <a:endParaRPr lang="en-US" sz="1200" dirty="0"/>
          </a:p>
          <a:p>
            <a:r>
              <a:rPr lang="en-US" sz="1200" dirty="0"/>
              <a:t>const root = </a:t>
            </a:r>
            <a:r>
              <a:rPr lang="en-US" sz="1200" dirty="0" err="1"/>
              <a:t>document.getElementById</a:t>
            </a:r>
            <a:r>
              <a:rPr lang="en-US" sz="1200" dirty="0"/>
              <a:t>("root");</a:t>
            </a:r>
          </a:p>
          <a:p>
            <a:endParaRPr lang="en-US" sz="1200" dirty="0"/>
          </a:p>
          <a:p>
            <a:r>
              <a:rPr lang="en-US" sz="1200" dirty="0"/>
              <a:t>const heading = </a:t>
            </a:r>
            <a:r>
              <a:rPr lang="en-US" sz="1200" dirty="0" err="1"/>
              <a:t>document.createElement</a:t>
            </a:r>
            <a:r>
              <a:rPr lang="en-US" sz="1200" dirty="0"/>
              <a:t>("h1");</a:t>
            </a:r>
          </a:p>
          <a:p>
            <a:endParaRPr lang="en-US" sz="1200" dirty="0"/>
          </a:p>
          <a:p>
            <a:r>
              <a:rPr lang="en-US" sz="1200" dirty="0" err="1"/>
              <a:t>heading.textContent</a:t>
            </a:r>
            <a:r>
              <a:rPr lang="en-US" sz="1200" dirty="0"/>
              <a:t> = "Hello " + name;</a:t>
            </a:r>
          </a:p>
          <a:p>
            <a:r>
              <a:rPr lang="en-US" sz="1200" dirty="0" err="1"/>
              <a:t>root.appendChild</a:t>
            </a:r>
            <a:r>
              <a:rPr lang="en-US" sz="1200" dirty="0"/>
              <a:t>(heading);</a:t>
            </a:r>
          </a:p>
          <a:p>
            <a:endParaRPr lang="en-US" sz="1200" dirty="0"/>
          </a:p>
          <a:p>
            <a:r>
              <a:rPr lang="en-US" sz="1200" dirty="0"/>
              <a:t>&lt;/script&gt;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5AC142A-B8F2-4E0D-8743-7E31427EA384}"/>
              </a:ext>
            </a:extLst>
          </p:cNvPr>
          <p:cNvSpPr txBox="1"/>
          <p:nvPr/>
        </p:nvSpPr>
        <p:spPr>
          <a:xfrm>
            <a:off x="6100762" y="1492250"/>
            <a:ext cx="2743200" cy="30602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108000" tIns="108000" rIns="108000" bIns="10800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rgbClr val="E1000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</a:rPr>
              <a:t>JSX</a:t>
            </a:r>
          </a:p>
          <a:p>
            <a:r>
              <a:rPr lang="en-US" sz="1200" dirty="0">
                <a:solidFill>
                  <a:schemeClr val="bg1"/>
                </a:solidFill>
              </a:rPr>
              <a:t>const name = "World";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function App(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return &lt;h1&gt;Hello {name}&lt;/h1&gt;;</a:t>
            </a:r>
          </a:p>
          <a:p>
            <a:r>
              <a:rPr lang="en-US" sz="1200" dirty="0">
                <a:solidFill>
                  <a:schemeClr val="bg1"/>
                </a:solidFill>
              </a:rPr>
              <a:t>}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export default App;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515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54F25-0A3C-F1E5-BACE-207672697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347A2F-8CCF-EF17-A4BF-4A66B7A85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946444-B837-BF04-A3E1-AE1B5D2434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9F0902-B9E8-896B-324C-BE222D37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HTML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EF40793-6AFD-D608-59F4-86BB92BEFAEA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43D0D9A-4522-C539-71B3-F2BED35D9868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693453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orm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Block &amp; Inline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able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Semantic element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Attributes </a:t>
            </a:r>
          </a:p>
          <a:p>
            <a:pPr marL="0" indent="0">
              <a:buClr>
                <a:schemeClr val="bg1"/>
              </a:buClr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4966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AF05CE2-D153-D5CC-D22A-B60EEC3D08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Class vs Functional Components: Key Differences Explained">
            <a:extLst>
              <a:ext uri="{FF2B5EF4-FFF2-40B4-BE49-F238E27FC236}">
                <a16:creationId xmlns:a16="http://schemas.microsoft.com/office/drawing/2014/main" id="{C4496BF3-DC05-35BC-A34B-EB1A2652FA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54" b="7995"/>
          <a:stretch>
            <a:fillRect/>
          </a:stretch>
        </p:blipFill>
        <p:spPr bwMode="auto">
          <a:xfrm>
            <a:off x="0" y="-16575"/>
            <a:ext cx="9144000" cy="516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17070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E736FFB-847D-494E-A90E-A4C6C3E00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difference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B9BC4B-B668-4A85-9817-0A2C882AD1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968863-EDEC-4003-BF96-8E50965CF7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1</a:t>
            </a:fld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A7235D3-31C4-1295-C01E-4F62BF842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231725"/>
              </p:ext>
            </p:extLst>
          </p:nvPr>
        </p:nvGraphicFramePr>
        <p:xfrm>
          <a:off x="244942" y="1063784"/>
          <a:ext cx="4627203" cy="3017520"/>
        </p:xfrm>
        <a:graphic>
          <a:graphicData uri="http://schemas.openxmlformats.org/drawingml/2006/table">
            <a:tbl>
              <a:tblPr/>
              <a:tblGrid>
                <a:gridCol w="1542401">
                  <a:extLst>
                    <a:ext uri="{9D8B030D-6E8A-4147-A177-3AD203B41FA5}">
                      <a16:colId xmlns:a16="http://schemas.microsoft.com/office/drawing/2014/main" val="3427467494"/>
                    </a:ext>
                  </a:extLst>
                </a:gridCol>
                <a:gridCol w="1542401">
                  <a:extLst>
                    <a:ext uri="{9D8B030D-6E8A-4147-A177-3AD203B41FA5}">
                      <a16:colId xmlns:a16="http://schemas.microsoft.com/office/drawing/2014/main" val="985053004"/>
                    </a:ext>
                  </a:extLst>
                </a:gridCol>
                <a:gridCol w="1542401">
                  <a:extLst>
                    <a:ext uri="{9D8B030D-6E8A-4147-A177-3AD203B41FA5}">
                      <a16:colId xmlns:a16="http://schemas.microsoft.com/office/drawing/2014/main" val="32472942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solidFill>
                            <a:schemeClr val="accent1"/>
                          </a:solidFill>
                        </a:rPr>
                        <a:t>Featur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solidFill>
                            <a:schemeClr val="accent1"/>
                          </a:solidFill>
                        </a:rPr>
                        <a:t>Functional Compone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b="1" dirty="0">
                          <a:solidFill>
                            <a:schemeClr val="accent1"/>
                          </a:solidFill>
                        </a:rPr>
                        <a:t>Class Compone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3311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Syntax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Function / Arrow func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ES6 Class</a:t>
                      </a:r>
                    </a:p>
                    <a:p>
                      <a:pPr>
                        <a:buNone/>
                      </a:pPr>
                      <a:endParaRPr lang="en-US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607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Sta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 err="1"/>
                        <a:t>useState</a:t>
                      </a:r>
                      <a:r>
                        <a:rPr lang="en-US" dirty="0"/>
                        <a:t> Hoo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 err="1"/>
                        <a:t>this.state</a:t>
                      </a:r>
                      <a:endParaRPr lang="en-US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94595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Lifecycl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 err="1"/>
                        <a:t>useEffect</a:t>
                      </a:r>
                      <a:r>
                        <a:rPr lang="en-US" dirty="0"/>
                        <a:t> Hoo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Lifecycle method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0241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Code length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Short &amp; clean ✅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Longer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1063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Modern Reac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dirty="0"/>
                        <a:t>✔️ Recommend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dirty="0"/>
                    </a:p>
                    <a:p>
                      <a:pPr>
                        <a:buNone/>
                      </a:pPr>
                      <a:r>
                        <a:rPr lang="en-US" dirty="0"/>
                        <a:t>❌ Less us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373137"/>
                  </a:ext>
                </a:extLst>
              </a:tr>
            </a:tbl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D9358320-EE22-466B-3E0F-9A750EBACF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6540" y="70884"/>
            <a:ext cx="4047460" cy="224701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6F81561-ADF8-9181-CCEA-5A58A8F54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0756" y="2374605"/>
            <a:ext cx="3953244" cy="277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3818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Props in React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4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4"/>
            <a:ext cx="7091362" cy="2539005"/>
          </a:xfrm>
        </p:spPr>
        <p:txBody>
          <a:bodyPr/>
          <a:lstStyle/>
          <a:p>
            <a:r>
              <a:rPr lang="en-US" b="1" dirty="0"/>
              <a:t>Props = Properties</a:t>
            </a:r>
          </a:p>
          <a:p>
            <a:r>
              <a:rPr lang="en-US" dirty="0"/>
              <a:t>They are like </a:t>
            </a:r>
            <a:r>
              <a:rPr lang="en-US" b="1" dirty="0"/>
              <a:t>arguments to a function.</a:t>
            </a:r>
          </a:p>
          <a:p>
            <a:r>
              <a:rPr lang="en-US" dirty="0"/>
              <a:t>Props let us </a:t>
            </a:r>
            <a:r>
              <a:rPr lang="en-US" b="1" dirty="0"/>
              <a:t>pass data from one component to another. (i.e., parent to child)</a:t>
            </a:r>
          </a:p>
          <a:p>
            <a:r>
              <a:rPr lang="en-US" b="1" dirty="0"/>
              <a:t>Read-only</a:t>
            </a:r>
            <a:r>
              <a:rPr lang="en-US" dirty="0"/>
              <a:t> → a child component can use them but cannot change them.</a:t>
            </a:r>
          </a:p>
        </p:txBody>
      </p:sp>
    </p:spTree>
    <p:extLst>
      <p:ext uri="{BB962C8B-B14F-4D97-AF65-F5344CB8AC3E}">
        <p14:creationId xmlns:p14="http://schemas.microsoft.com/office/powerpoint/2010/main" val="30332813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88D443-23A1-414F-89ED-4DB6355662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88D443-23A1-414F-89ED-4DB635566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0D8D01F-B822-4F6D-9C20-040C3D8C1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20DD06-162E-4A97-9E7A-9030D7B824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3</a:t>
            </a:fld>
            <a:endParaRPr lang="en-US" dirty="0"/>
          </a:p>
        </p:txBody>
      </p:sp>
      <p:pic>
        <p:nvPicPr>
          <p:cNvPr id="2052" name="Picture 4" descr="Understanding Props in React. Introduction | by devnabibia | Medium">
            <a:extLst>
              <a:ext uri="{FF2B5EF4-FFF2-40B4-BE49-F238E27FC236}">
                <a16:creationId xmlns:a16="http://schemas.microsoft.com/office/drawing/2014/main" id="{A89858AB-21AB-C425-B9DE-85D211AF3550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17" b="11417"/>
          <a:stretch>
            <a:fillRect/>
          </a:stretch>
        </p:blipFill>
        <p:spPr bwMode="auto">
          <a:xfrm>
            <a:off x="0" y="304682"/>
            <a:ext cx="5641180" cy="442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Lifting State up in React. A quick tip on how to pass data from… | by  Natasha Ferguson | Medium">
            <a:extLst>
              <a:ext uri="{FF2B5EF4-FFF2-40B4-BE49-F238E27FC236}">
                <a16:creationId xmlns:a16="http://schemas.microsoft.com/office/drawing/2014/main" id="{6C2B6280-F60D-FF54-75CA-D82D47E7B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229" y="1063256"/>
            <a:ext cx="3281916" cy="2893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55900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093A0-07F4-675E-8703-5B0D1BD1E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3A98C1-C93C-9D93-1372-F494F135BA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F3A98C1-C93C-9D93-1372-F494F135B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AF17115-B50D-536D-8E3C-04E917684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415713A-B5F8-D35E-0202-00A77DB7C4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88B6297-A77B-3E71-E242-FDF886DE528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 descr="Understanding React Props: A Beginner's Guide to Passing Data between  Components">
            <a:extLst>
              <a:ext uri="{FF2B5EF4-FFF2-40B4-BE49-F238E27FC236}">
                <a16:creationId xmlns:a16="http://schemas.microsoft.com/office/drawing/2014/main" id="{FA0F1974-E205-BA6E-647D-6C4E3AC7F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4449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1C2418A-969A-4017-ABB1-D74A96131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1C2418A-969A-4017-ABB1-D74A96131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3B57460-F042-43EF-A022-E1E198052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909375"/>
            <a:ext cx="3914738" cy="1154162"/>
          </a:xfrm>
        </p:spPr>
        <p:txBody>
          <a:bodyPr vert="horz"/>
          <a:lstStyle/>
          <a:p>
            <a:r>
              <a:rPr lang="en-US" dirty="0"/>
              <a:t>Passing Data from Child to Paren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DA5197-2314-4D7B-A279-BF30BE020C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CB1320-8E39-49D0-AEBF-4FA3E40BB0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45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945DE726-323B-4448-A83C-18EF454CE56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16102823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BA42AF-084E-442C-55AB-1C7D620ED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05A45A-9131-65ED-2E2E-7695F9F6F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05A45A-9131-65ED-2E2E-7695F9F6F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285C416-2724-7F29-C23F-E69B89CB0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41C8BA8-8FA7-6E96-BAF7-0E01C1F018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6</a:t>
            </a:fld>
            <a:endParaRPr lang="en-US" dirty="0"/>
          </a:p>
        </p:txBody>
      </p:sp>
      <p:pic>
        <p:nvPicPr>
          <p:cNvPr id="5122" name="Picture 2" descr="React – Pass Data From One Component to Other Component - TheCodeBuzz">
            <a:extLst>
              <a:ext uri="{FF2B5EF4-FFF2-40B4-BE49-F238E27FC236}">
                <a16:creationId xmlns:a16="http://schemas.microsoft.com/office/drawing/2014/main" id="{AB2A85DA-FEBF-620C-6489-F8BFCD2239FB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84" b="10984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5425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10C17-0986-48EA-CE64-EE70543F4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45FBF0-1EC4-0570-619F-C46A401086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1E2C2B-DE89-E3A7-7479-2DE29B872E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46C735-6399-870B-E51C-B57CB842B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hild → Parent communication</a:t>
            </a:r>
          </a:p>
        </p:txBody>
      </p:sp>
      <p:pic>
        <p:nvPicPr>
          <p:cNvPr id="6146" name="Picture 2" descr="callbacks">
            <a:extLst>
              <a:ext uri="{FF2B5EF4-FFF2-40B4-BE49-F238E27FC236}">
                <a16:creationId xmlns:a16="http://schemas.microsoft.com/office/drawing/2014/main" id="{A11F5484-E62E-0CB7-13A8-5839B6E20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1041876"/>
            <a:ext cx="8556692" cy="3258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8990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783BF-A1D2-DD87-AA06-D6F32D8E7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29AC-B863-11E0-8EBD-BF33B82CC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State - Using </a:t>
            </a:r>
            <a:r>
              <a:rPr lang="en-US" dirty="0" err="1"/>
              <a:t>useState</a:t>
            </a:r>
            <a:r>
              <a:rPr lang="en-US" dirty="0"/>
              <a:t> to manage data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9FF964-BE51-75E5-F7D6-CF73C7FEA1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27A64A-0293-951F-E671-C25A65EAEC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8</a:t>
            </a:fld>
            <a:endParaRPr lang="en-US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70EEE49D-7603-2AF2-4A01-B5F86DEEC8CE}"/>
              </a:ext>
            </a:extLst>
          </p:cNvPr>
          <p:cNvSpPr txBox="1">
            <a:spLocks/>
          </p:cNvSpPr>
          <p:nvPr/>
        </p:nvSpPr>
        <p:spPr>
          <a:xfrm>
            <a:off x="6663193" y="1692558"/>
            <a:ext cx="2194290" cy="2768123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tate</a:t>
            </a:r>
            <a:r>
              <a:rPr lang="en-US" dirty="0"/>
              <a:t> = a component’s </a:t>
            </a:r>
            <a:r>
              <a:rPr lang="en-US" b="1" dirty="0"/>
              <a:t>memory</a:t>
            </a:r>
            <a:endParaRPr lang="en-US" dirty="0"/>
          </a:p>
          <a:p>
            <a:r>
              <a:rPr lang="en-US" b="1" dirty="0"/>
              <a:t>state belongs to the component itself</a:t>
            </a:r>
            <a:r>
              <a:rPr lang="en-US" dirty="0"/>
              <a:t>.</a:t>
            </a:r>
          </a:p>
          <a:p>
            <a:r>
              <a:rPr lang="en-US" dirty="0"/>
              <a:t>When state changes → React </a:t>
            </a:r>
            <a:r>
              <a:rPr lang="en-US" b="1" dirty="0"/>
              <a:t>re-renders</a:t>
            </a:r>
            <a:r>
              <a:rPr lang="en-US" dirty="0"/>
              <a:t> the UI automatically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227C1D-E28C-004F-F223-3E04224908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1192696"/>
            <a:ext cx="6088565" cy="3007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57934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49</a:t>
            </a:fld>
            <a:endParaRPr lang="en-US" dirty="0"/>
          </a:p>
        </p:txBody>
      </p:sp>
      <p:pic>
        <p:nvPicPr>
          <p:cNvPr id="8194" name="Picture 2" descr="The Ultimate Guide to React useState Hook: From Zero to Hero | by ...">
            <a:extLst>
              <a:ext uri="{FF2B5EF4-FFF2-40B4-BE49-F238E27FC236}">
                <a16:creationId xmlns:a16="http://schemas.microsoft.com/office/drawing/2014/main" id="{7485243C-9C1E-8441-B5C0-09430CF36AC1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4" b="1504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9306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E8077-5992-8160-85F4-6D3BF2986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3F5D1A-4987-7946-B8D4-C2380BC6D7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67FE4D-E010-1766-A4FE-FDD0ACAED9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E2C8FC2-B916-3C7A-FEAF-BC9893F7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0" y="455611"/>
            <a:ext cx="254548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Table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BAD300D-3760-D924-D7E2-CC0D23D019E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E226694-50CC-7BCA-36F4-9EEF9AFD9E67}"/>
              </a:ext>
            </a:extLst>
          </p:cNvPr>
          <p:cNvSpPr txBox="1">
            <a:spLocks/>
          </p:cNvSpPr>
          <p:nvPr/>
        </p:nvSpPr>
        <p:spPr>
          <a:xfrm>
            <a:off x="4572000" y="1339635"/>
            <a:ext cx="3395414" cy="533466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 A table in HTML consists of table cells inside rows and columns.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27F155-26FC-06F4-816A-6453E12338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820" y="2141573"/>
            <a:ext cx="3149762" cy="137802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1E6A09BB-A325-A0E2-2F6C-BF526741A270}"/>
              </a:ext>
            </a:extLst>
          </p:cNvPr>
          <p:cNvSpPr txBox="1">
            <a:spLocks/>
          </p:cNvSpPr>
          <p:nvPr/>
        </p:nvSpPr>
        <p:spPr bwMode="gray">
          <a:xfrm>
            <a:off x="454820" y="455612"/>
            <a:ext cx="2545482" cy="61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orms 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BF8A8EA-9CC1-C5EE-6A74-73F1C68B1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0630" y="2141573"/>
            <a:ext cx="2692538" cy="2482978"/>
          </a:xfrm>
          <a:prstGeom prst="rect">
            <a:avLst/>
          </a:prstGeom>
        </p:spPr>
      </p:pic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5D7A453-77E2-F9B5-CED8-18CF58F68A1B}"/>
              </a:ext>
            </a:extLst>
          </p:cNvPr>
          <p:cNvSpPr txBox="1">
            <a:spLocks/>
          </p:cNvSpPr>
          <p:nvPr/>
        </p:nvSpPr>
        <p:spPr>
          <a:xfrm>
            <a:off x="374899" y="1367555"/>
            <a:ext cx="3395414" cy="32030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Collects user input.</a:t>
            </a:r>
            <a:r>
              <a:rPr lang="en-US" dirty="0"/>
              <a:t> </a:t>
            </a:r>
            <a:endParaRPr lang="en-US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4418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3E18C-6780-1ABB-779B-EA19D25E54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BA1AA14-7713-35EE-4631-43CFCDEF39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BA1AA14-7713-35EE-4631-43CFCDEF3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46E1523-AB09-6BDE-8F2B-4FFC3D750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909375"/>
            <a:ext cx="3914738" cy="1154162"/>
          </a:xfrm>
        </p:spPr>
        <p:txBody>
          <a:bodyPr vert="horz"/>
          <a:lstStyle/>
          <a:p>
            <a:r>
              <a:rPr lang="en-US" cap="none" dirty="0" err="1">
                <a:latin typeface="+mn-lt"/>
              </a:rPr>
              <a:t>useEffect</a:t>
            </a:r>
            <a:endParaRPr lang="en-US" cap="none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1EE4D4-CD43-D012-4C9F-EB8DD477E5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3463246-2BB8-0690-B1D5-845703443C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0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355FF528-00F1-E10F-B7F6-9200C405FF6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117475745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DC035-58FE-33B2-3F91-3C6F6D51D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BC6AE9F-45A3-4973-6B31-F1BBC03D0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BC6AE9F-45A3-4973-6B31-F1BBC03D0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0B1B3EB-D95D-2C7B-D0D4-DDDD2AC26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What IS </a:t>
            </a:r>
            <a:r>
              <a:rPr lang="en-US" cap="none" dirty="0"/>
              <a:t>USEEFFECT</a:t>
            </a:r>
            <a:r>
              <a:rPr lang="en-US" dirty="0"/>
              <a:t> And How to use it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16E2CD-D630-8F6D-1725-484F10F4D1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87DFB74-23D1-D9FB-C1E7-FB59AA8A8C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1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06A05B3-6CC8-1F13-C91B-6041B905E7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4"/>
            <a:ext cx="7091362" cy="2539005"/>
          </a:xfrm>
        </p:spPr>
        <p:txBody>
          <a:bodyPr/>
          <a:lstStyle/>
          <a:p>
            <a:r>
              <a:rPr lang="en-US" b="1" dirty="0" err="1"/>
              <a:t>useEffect</a:t>
            </a:r>
            <a:r>
              <a:rPr lang="en-US" dirty="0"/>
              <a:t> lets you run code when your component </a:t>
            </a:r>
            <a:r>
              <a:rPr lang="en-US" b="1" dirty="0"/>
              <a:t>mounts, updates, or unmounts.</a:t>
            </a:r>
          </a:p>
          <a:p>
            <a:r>
              <a:rPr lang="en-US" dirty="0"/>
              <a:t>🟢 </a:t>
            </a:r>
            <a:r>
              <a:rPr lang="en-US" b="1" dirty="0"/>
              <a:t>Mounts</a:t>
            </a:r>
            <a:r>
              <a:rPr lang="en-US" dirty="0"/>
              <a:t> -&gt; runs </a:t>
            </a:r>
            <a:r>
              <a:rPr lang="en-US" b="1" dirty="0"/>
              <a:t>only once</a:t>
            </a:r>
            <a:r>
              <a:rPr lang="en-US" dirty="0"/>
              <a:t>, when the component first appears on the screen.</a:t>
            </a:r>
          </a:p>
          <a:p>
            <a:r>
              <a:rPr lang="en-US" dirty="0"/>
              <a:t>🟡 </a:t>
            </a:r>
            <a:r>
              <a:rPr lang="en-US" b="1" dirty="0"/>
              <a:t>Updates</a:t>
            </a:r>
            <a:r>
              <a:rPr lang="en-US" dirty="0"/>
              <a:t> -&gt; When you pass a state (or prop) inside the dependency array [ ], the code inside </a:t>
            </a:r>
            <a:r>
              <a:rPr lang="en-US" dirty="0" err="1"/>
              <a:t>useEffect</a:t>
            </a:r>
            <a:r>
              <a:rPr lang="en-US" dirty="0"/>
              <a:t> runs only when that value changes</a:t>
            </a:r>
          </a:p>
          <a:p>
            <a:r>
              <a:rPr lang="en-US" dirty="0"/>
              <a:t>🔴 </a:t>
            </a:r>
            <a:r>
              <a:rPr lang="en-US" b="1" dirty="0"/>
              <a:t>Unmounts</a:t>
            </a:r>
            <a:r>
              <a:rPr lang="en-US" dirty="0"/>
              <a:t> -&gt; When a component is removed from the screen , React will run the cleanup function you return from </a:t>
            </a:r>
            <a:r>
              <a:rPr lang="en-US" dirty="0" err="1"/>
              <a:t>useEff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78902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CB6D62-BA01-ECDD-2269-6AA321A672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D1E421A-9823-AB49-7C56-5941B9102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D1E421A-9823-AB49-7C56-5941B9102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63155DB7-0198-6026-EAA1-7C4C467D42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2F647A0-B51B-4DA6-B2D0-AB8917281D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C2647D0-4315-84B0-857E-DF67CC27397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290" name="Picture 2" descr="Understanding the React Component Lifecycle and the useEffect Hook ...">
            <a:extLst>
              <a:ext uri="{FF2B5EF4-FFF2-40B4-BE49-F238E27FC236}">
                <a16:creationId xmlns:a16="http://schemas.microsoft.com/office/drawing/2014/main" id="{79A8B4A0-4E5E-6242-3226-B2E36930E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610"/>
            <a:ext cx="9144000" cy="5208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53684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6CC74-0F2C-7417-FED5-1FECF16B24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D0EB630-AA6C-B066-B106-3054B4B1A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D0EB630-AA6C-B066-B106-3054B4B1A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C8B24265-99B9-D9B2-53AB-78717D9E8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9FED42C-0499-DD1B-844A-06BEBDFFE5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3</a:t>
            </a:fld>
            <a:endParaRPr lang="en-US" dirty="0"/>
          </a:p>
        </p:txBody>
      </p:sp>
      <p:pic>
        <p:nvPicPr>
          <p:cNvPr id="15362" name="Picture 2" descr="useEffect React Hook | HelpEzee">
            <a:extLst>
              <a:ext uri="{FF2B5EF4-FFF2-40B4-BE49-F238E27FC236}">
                <a16:creationId xmlns:a16="http://schemas.microsoft.com/office/drawing/2014/main" id="{9DA08A23-558F-DF04-D777-E2B015A913CA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40" r="6684"/>
          <a:stretch>
            <a:fillRect/>
          </a:stretch>
        </p:blipFill>
        <p:spPr bwMode="auto">
          <a:xfrm>
            <a:off x="1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866686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EBC09-54F0-87BD-0276-0603B7F0B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A2B256-8E12-8CDB-E644-38DAB1067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A2B256-8E12-8CDB-E644-38DAB1067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D0DA5DB-D71B-B872-0101-09A1CAB60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9DBA30C-FDCA-92BA-DF1B-53EB3B5E69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6C3E4B5-7FD4-DFA7-87EC-0F616F0AAA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7402E1-1A7B-D494-08B6-A877DE07BC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"/>
            <a:ext cx="914400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27251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101204-943C-59E1-7C9E-EA2387AF3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8C396D-8F26-0B37-218D-92A7936B1B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AC5F50-5833-8F41-B4A6-32E1D1F911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5F07FC-34F6-648C-9E48-E4A4D2E69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179198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onditional rendering (Hide/Show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084D19-684F-0E65-D4FB-BB66B7B1C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8159" y="1216749"/>
            <a:ext cx="4416361" cy="27115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B235C93-46F9-831E-5680-DC75116CD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850605"/>
            <a:ext cx="3683189" cy="377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52446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89C58C-4138-90B9-89CE-1D0B07984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07EE0B3-D96A-ABB5-A6FD-EC2D534713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2F6EA5-B4F5-E5FB-D0FE-20F1AE64C5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6D9E02-7983-9359-9F4A-E7AFE24B5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Lists and Keys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22482DD-4BC6-8B33-A927-2B2C3F774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8901" y="1009431"/>
            <a:ext cx="2153127" cy="337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BE23333-AB4C-9839-AFE5-8692174C0C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108" y="1009430"/>
            <a:ext cx="3704892" cy="337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793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DEE45-057C-AF43-9C90-15BD331603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10220B-BCBE-0A15-5481-D2252A0A2E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0915F9-F240-F9B5-160A-6581827844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799A19A-3DA5-85D4-B71C-3A6D402BA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648" y="103467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Forms in reac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42351A-3798-225C-53A1-82043A9C6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0997" y="411244"/>
            <a:ext cx="2940496" cy="18437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ECF7D5B-8C76-11B0-6FF0-4AC04DF08A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0996" y="2255005"/>
            <a:ext cx="2940497" cy="2380791"/>
          </a:xfrm>
          <a:prstGeom prst="rect">
            <a:avLst/>
          </a:prstGeom>
        </p:spPr>
      </p:pic>
      <p:pic>
        <p:nvPicPr>
          <p:cNvPr id="18434" name="Picture 2" descr="Generated image">
            <a:extLst>
              <a:ext uri="{FF2B5EF4-FFF2-40B4-BE49-F238E27FC236}">
                <a16:creationId xmlns:a16="http://schemas.microsoft.com/office/drawing/2014/main" id="{B5CC2784-00F0-AA3D-516C-57CD695E0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49" y="918765"/>
            <a:ext cx="3151664" cy="1769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>
            <a:extLst>
              <a:ext uri="{FF2B5EF4-FFF2-40B4-BE49-F238E27FC236}">
                <a16:creationId xmlns:a16="http://schemas.microsoft.com/office/drawing/2014/main" id="{A70EEC79-34B4-DFB7-446B-363B6D2D86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48" y="2806996"/>
            <a:ext cx="3151664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3076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D06F48-47D4-865F-EB53-E6D1AA58F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Event Handler">
            <a:extLst>
              <a:ext uri="{FF2B5EF4-FFF2-40B4-BE49-F238E27FC236}">
                <a16:creationId xmlns:a16="http://schemas.microsoft.com/office/drawing/2014/main" id="{2E8642B9-9F35-1DF9-A489-6FB145B9FF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" b="15311"/>
          <a:stretch>
            <a:fillRect/>
          </a:stretch>
        </p:blipFill>
        <p:spPr bwMode="auto">
          <a:xfrm>
            <a:off x="20" y="10"/>
            <a:ext cx="9143980" cy="4357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5EFD9D-CF12-4918-45DF-24DD5B752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/>
              <a:t>Event handl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AD53CF-6D51-3572-40F9-0B21B19FBE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58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8D22267-20E9-CDE2-BF46-27C8CF0D0ED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</p:spTree>
    <p:extLst>
      <p:ext uri="{BB962C8B-B14F-4D97-AF65-F5344CB8AC3E}">
        <p14:creationId xmlns:p14="http://schemas.microsoft.com/office/powerpoint/2010/main" val="141594506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51253-73E8-3AA4-72FD-4EFEE6C30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E892FA4-D41A-A2D8-10A5-B9CD629BA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E892FA4-D41A-A2D8-10A5-B9CD629BA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B8483149-C840-07AA-4D6C-CA1EBCA57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F1B1AA8-6368-1587-CAC2-6DDEA6448A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59</a:t>
            </a:fld>
            <a:endParaRPr lang="en-US" dirty="0"/>
          </a:p>
        </p:txBody>
      </p:sp>
      <p:pic>
        <p:nvPicPr>
          <p:cNvPr id="10250" name="Picture 10" descr="Event Handling in React – Complete Guide with Examples">
            <a:extLst>
              <a:ext uri="{FF2B5EF4-FFF2-40B4-BE49-F238E27FC236}">
                <a16:creationId xmlns:a16="http://schemas.microsoft.com/office/drawing/2014/main" id="{8E0C881F-0540-B00C-491B-28DCC816C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288133"/>
            <a:ext cx="5377193" cy="4638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DAE1D874-96D5-9DE4-9259-A5C02E8BAD48}"/>
              </a:ext>
            </a:extLst>
          </p:cNvPr>
          <p:cNvSpPr txBox="1">
            <a:spLocks/>
          </p:cNvSpPr>
          <p:nvPr/>
        </p:nvSpPr>
        <p:spPr>
          <a:xfrm>
            <a:off x="6124887" y="1558457"/>
            <a:ext cx="2719075" cy="213094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 React, events use camelCase names like </a:t>
            </a:r>
            <a:r>
              <a:rPr lang="en-US" b="1" dirty="0" err="1"/>
              <a:t>onClick</a:t>
            </a:r>
            <a:r>
              <a:rPr lang="en-US" b="1" dirty="0"/>
              <a:t>, </a:t>
            </a:r>
            <a:r>
              <a:rPr lang="en-US" b="1" dirty="0" err="1"/>
              <a:t>onChange</a:t>
            </a:r>
            <a:r>
              <a:rPr lang="en-US" b="1" dirty="0"/>
              <a:t>, </a:t>
            </a:r>
            <a:r>
              <a:rPr lang="en-US" b="1" dirty="0" err="1"/>
              <a:t>onSubmit</a:t>
            </a:r>
            <a:r>
              <a:rPr lang="en-US" b="1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You give the event a function → React will run that function when the event happens.</a:t>
            </a:r>
          </a:p>
        </p:txBody>
      </p:sp>
    </p:spTree>
    <p:extLst>
      <p:ext uri="{BB962C8B-B14F-4D97-AF65-F5344CB8AC3E}">
        <p14:creationId xmlns:p14="http://schemas.microsoft.com/office/powerpoint/2010/main" val="2464543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D1613-34E5-940B-3127-D499847F4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9CD069F-61E8-5A9C-A91E-F2FC59D03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519E6A-18D8-50E9-B91E-54CB8A7E96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6D479D-8D13-D01B-2776-2D2CDAAFB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0" y="295068"/>
            <a:ext cx="2980525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Semantic Elemen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0C7B7AA-F15D-CD74-4E89-DF21614BA433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8AC777B-EA20-A016-673E-24EC1388C323}"/>
              </a:ext>
            </a:extLst>
          </p:cNvPr>
          <p:cNvSpPr txBox="1">
            <a:spLocks/>
          </p:cNvSpPr>
          <p:nvPr/>
        </p:nvSpPr>
        <p:spPr>
          <a:xfrm>
            <a:off x="454820" y="3609243"/>
            <a:ext cx="3395414" cy="335602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Provide extra information about elements.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4F95273-B9DB-286A-BE8D-781FCF2C815F}"/>
              </a:ext>
            </a:extLst>
          </p:cNvPr>
          <p:cNvSpPr txBox="1">
            <a:spLocks/>
          </p:cNvSpPr>
          <p:nvPr/>
        </p:nvSpPr>
        <p:spPr bwMode="gray">
          <a:xfrm>
            <a:off x="454820" y="455612"/>
            <a:ext cx="3315493" cy="61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lock and Inline Elements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AF8C356-8C99-C95C-DD49-4206B319EB17}"/>
              </a:ext>
            </a:extLst>
          </p:cNvPr>
          <p:cNvSpPr txBox="1">
            <a:spLocks/>
          </p:cNvSpPr>
          <p:nvPr/>
        </p:nvSpPr>
        <p:spPr>
          <a:xfrm>
            <a:off x="374898" y="1367555"/>
            <a:ext cx="3834133" cy="882695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Block → starts on a new line (&lt;div&gt;, &lt;p&gt;, &lt;h1&gt;)</a:t>
            </a: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Inline → does not start on a new line (&lt;span&gt;, &lt;a&gt;, &lt;strong&gt;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DE681D-C936-7869-C71C-24EF1A334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161" y="2327892"/>
            <a:ext cx="2311519" cy="61598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44B44F0-05D7-FC48-C68E-323B39F305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709" y="1873101"/>
            <a:ext cx="2521080" cy="88269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6583825B-7FD6-2609-98DF-3E4DA1D0B929}"/>
              </a:ext>
            </a:extLst>
          </p:cNvPr>
          <p:cNvSpPr txBox="1">
            <a:spLocks/>
          </p:cNvSpPr>
          <p:nvPr/>
        </p:nvSpPr>
        <p:spPr bwMode="gray">
          <a:xfrm>
            <a:off x="536161" y="3021516"/>
            <a:ext cx="3663470" cy="61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ttributes 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51C6F986-8997-196E-20ED-50BB51FB7166}"/>
              </a:ext>
            </a:extLst>
          </p:cNvPr>
          <p:cNvSpPr txBox="1">
            <a:spLocks/>
          </p:cNvSpPr>
          <p:nvPr/>
        </p:nvSpPr>
        <p:spPr>
          <a:xfrm>
            <a:off x="4572000" y="1367555"/>
            <a:ext cx="3395414" cy="335602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 Gives meaning to the structure of a page.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7A8E023-1672-8FFB-92B2-4D56A4614F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162" y="4024010"/>
            <a:ext cx="3663470" cy="45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356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B2ACF-184B-659D-B671-360614475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7CFFDC0-D899-997F-E1A5-DAA69933AF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7CFFDC0-D899-997F-E1A5-DAA69933A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87DDF2A-593C-5B48-277B-7DBAAD387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909375"/>
            <a:ext cx="3914738" cy="1154162"/>
          </a:xfrm>
        </p:spPr>
        <p:txBody>
          <a:bodyPr vert="horz"/>
          <a:lstStyle/>
          <a:p>
            <a:r>
              <a:rPr lang="en-US" cap="none" dirty="0">
                <a:latin typeface="+mn-lt"/>
              </a:rPr>
              <a:t>WHAT IS AN API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3A9D706-5BEC-CAFD-1103-FDE0A886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1AE966-D7FE-4748-598F-CFADBFC7BF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60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C888E7B-3A11-158E-4EDC-80F0632B254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402124187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C00C9-D27D-1183-C6E6-E5EF0D085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78943F-56D1-6292-2450-880171D0F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/>
              <a:t>Event handl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DF61F1-49C9-201C-24D2-236497777C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1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0416C19-6403-07B4-6A6C-78A64619BCD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pic>
        <p:nvPicPr>
          <p:cNvPr id="20482" name="Picture 2" descr="What is an API (Application Programming Interface) - GeeksforGeeks">
            <a:extLst>
              <a:ext uri="{FF2B5EF4-FFF2-40B4-BE49-F238E27FC236}">
                <a16:creationId xmlns:a16="http://schemas.microsoft.com/office/drawing/2014/main" id="{F16C17CD-CF97-8BDD-C26A-4E45403C3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23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933851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A8F92-47C8-00B1-A24F-E70E360B0E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A22306-BC1D-8770-63B7-FA5C42E2E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5619" cy="153888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kern="1200" cap="all" baseline="0" dirty="0"/>
              <a:t>JS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4B13F4-32E6-9499-29E0-A544A31790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B7BC00-438A-8EF0-E822-C8E6A739C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2</a:t>
            </a:fld>
            <a:endParaRPr lang="en-US"/>
          </a:p>
        </p:txBody>
      </p:sp>
      <p:pic>
        <p:nvPicPr>
          <p:cNvPr id="21508" name="Picture 4" descr="Generated image">
            <a:extLst>
              <a:ext uri="{FF2B5EF4-FFF2-40B4-BE49-F238E27FC236}">
                <a16:creationId xmlns:a16="http://schemas.microsoft.com/office/drawing/2014/main" id="{1435AC2C-90B6-BDD5-5791-8F53BA616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46613" y="516524"/>
            <a:ext cx="2744787" cy="411204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C98494-C660-F321-2771-ECF5B2D2BDFF}"/>
              </a:ext>
            </a:extLst>
          </p:cNvPr>
          <p:cNvSpPr txBox="1"/>
          <p:nvPr/>
        </p:nvSpPr>
        <p:spPr>
          <a:xfrm>
            <a:off x="202019" y="957621"/>
            <a:ext cx="45720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Looks like text → Easy for humans to rea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Has keys and values → like “name”: “Rahul”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Language-independent → not just for JavaScript; almost every programming language can use JS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Mostly used in APIs → Apps send and receive data in JSON.</a:t>
            </a:r>
          </a:p>
        </p:txBody>
      </p:sp>
    </p:spTree>
    <p:extLst>
      <p:ext uri="{BB962C8B-B14F-4D97-AF65-F5344CB8AC3E}">
        <p14:creationId xmlns:p14="http://schemas.microsoft.com/office/powerpoint/2010/main" val="212480654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4B883-DF4B-EC54-E7CF-99ACF7F4F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834D62-9498-1FC3-2B3B-A65F0BDA31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9D946C-22D6-A177-9662-7FED3676F3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38AB976-33FF-6825-1937-AB7014E86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Json example</a:t>
            </a:r>
            <a:endParaRPr lang="en-US" kern="1200" cap="all" baseline="0" dirty="0"/>
          </a:p>
        </p:txBody>
      </p:sp>
      <p:pic>
        <p:nvPicPr>
          <p:cNvPr id="22530" name="Picture 2" descr="Read/write JSON Files with Node.js - Naukri Code 360">
            <a:extLst>
              <a:ext uri="{FF2B5EF4-FFF2-40B4-BE49-F238E27FC236}">
                <a16:creationId xmlns:a16="http://schemas.microsoft.com/office/drawing/2014/main" id="{6E35ED6A-FD73-3E1C-AC46-303433EAB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36" b="-2"/>
          <a:stretch>
            <a:fillRect/>
          </a:stretch>
        </p:blipFill>
        <p:spPr bwMode="auto">
          <a:xfrm>
            <a:off x="366216" y="1024204"/>
            <a:ext cx="7622380" cy="338476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36336004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C2FD1-049D-7E8F-DAA2-A19C0D363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97227A5-4316-2699-54D9-B407CFF69C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692CC2-C43F-0419-06B1-823A1AED2E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D3B08E-B2D4-3BBB-0FC3-EB06F94CB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 cap="all" baseline="0" dirty="0"/>
              <a:t>Using fetch with async/awai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E766BC-1FF1-C819-8554-AD02CFE5F4F6}"/>
              </a:ext>
            </a:extLst>
          </p:cNvPr>
          <p:cNvSpPr txBox="1"/>
          <p:nvPr/>
        </p:nvSpPr>
        <p:spPr bwMode="gray">
          <a:xfrm>
            <a:off x="4984173" y="1156262"/>
            <a:ext cx="3832529" cy="263579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fetch() </a:t>
            </a:r>
            <a:r>
              <a:rPr lang="en-US" sz="1200" dirty="0">
                <a:solidFill>
                  <a:schemeClr val="bg1"/>
                </a:solidFill>
              </a:rPr>
              <a:t>is a built-in JavaScript function, so no extra library is requir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Example: fetching a list of posts from a fake API </a:t>
            </a:r>
            <a:r>
              <a:rPr lang="en-US" sz="12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jsonplaceholder.typicode.com/posts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BA06F6-476B-C6D4-8FF3-609DFA211D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298" y="1156262"/>
            <a:ext cx="4435533" cy="317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56233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50C15B-1CE9-FB5F-5694-176C6B752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15D76E-61ED-958A-08D4-B7207FA899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AA6E92-D8DC-68ED-6E1E-B5FE7EFECE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12C30F4-5037-63B4-E734-BFDF35233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 cap="all" baseline="0" dirty="0"/>
              <a:t>Using fetch with .</a:t>
            </a:r>
            <a:r>
              <a:rPr lang="en-US" kern="1200" cap="none" baseline="0" dirty="0"/>
              <a:t>then()</a:t>
            </a:r>
            <a:endParaRPr lang="en-US" kern="1200" cap="all" baseline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C6BE603-7177-775B-2362-DD09657A8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08" y="1356009"/>
            <a:ext cx="6903479" cy="255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85945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9BAAA-EE63-9F45-EDCA-46DED056C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284FF4F-ADFB-50CF-785E-D610E9500A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DB4681-EAF2-E837-3681-E9960B1937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FBDC41-4D90-311E-337D-0E8C93EEC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Handle loading &amp; Errors</a:t>
            </a:r>
            <a:endParaRPr lang="en-US" kern="1200" cap="all" baseline="0" dirty="0"/>
          </a:p>
        </p:txBody>
      </p:sp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C0C41232-819C-2670-B147-92093D40385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04" b="4"/>
          <a:stretch>
            <a:fillRect/>
          </a:stretch>
        </p:blipFill>
        <p:spPr>
          <a:xfrm>
            <a:off x="302420" y="1109265"/>
            <a:ext cx="4158262" cy="3265416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887A9B-5C52-AEDF-224F-CEBC5DC2D4C7}"/>
              </a:ext>
            </a:extLst>
          </p:cNvPr>
          <p:cNvSpPr txBox="1"/>
          <p:nvPr/>
        </p:nvSpPr>
        <p:spPr bwMode="gray">
          <a:xfrm>
            <a:off x="4754880" y="1424073"/>
            <a:ext cx="3840480" cy="2635799"/>
          </a:xfrm>
          <a:prstGeom prst="rect">
            <a:avLst/>
          </a:prstGeom>
        </p:spPr>
        <p:txBody>
          <a:bodyPr anchor="t">
            <a:normAutofit lnSpcReduction="10000"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Why do we use a loader?</a:t>
            </a:r>
            <a:endParaRPr lang="en-US" sz="1200" b="1" kern="1200" dirty="0">
              <a:solidFill>
                <a:schemeClr val="bg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magine you order food in a restaurant 🍔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While waiting, the waiter says: </a:t>
            </a:r>
            <a:r>
              <a:rPr lang="en-US" sz="1200" i="1" dirty="0">
                <a:solidFill>
                  <a:schemeClr val="bg1"/>
                </a:solidFill>
              </a:rPr>
              <a:t>“Please wait, your food is being prepared.”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i="1" kern="1200" dirty="0">
              <a:solidFill>
                <a:schemeClr val="bg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b="1" i="1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</a:rPr>
              <a:t>What is error handling in React?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bg1"/>
                </a:solidFill>
              </a:rPr>
              <a:t>Error </a:t>
            </a:r>
            <a:r>
              <a:rPr lang="en-US" sz="1200" dirty="0">
                <a:solidFill>
                  <a:schemeClr val="bg1"/>
                </a:solidFill>
              </a:rPr>
              <a:t>handling catches mistakes, stops the app from crashing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It tells the user what went wrong instead of leaving them confused.</a:t>
            </a:r>
            <a:endParaRPr lang="en-US" sz="1200" kern="12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n-US" sz="1200" kern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48231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606DD7-BBB2-0161-84D5-65F3440EC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6EC51D-028E-CDE3-ECF8-318AAA5279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A14D5A-DB63-4079-E6A7-9BE4105281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29D47A-3B3C-72B2-B504-522619A39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it-IT" dirty="0"/>
              <a:t>Rendering API data in UI</a:t>
            </a:r>
            <a:endParaRPr lang="en-US" kern="1200" cap="all" baseline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E793047-2F56-43D5-85D3-7F5FB1F5A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2391" y="106705"/>
            <a:ext cx="3003112" cy="4587903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8ACBDF0-5261-117A-E529-953D0B55F6CD}"/>
              </a:ext>
            </a:extLst>
          </p:cNvPr>
          <p:cNvSpPr/>
          <p:nvPr/>
        </p:nvSpPr>
        <p:spPr>
          <a:xfrm>
            <a:off x="1081048" y="1310572"/>
            <a:ext cx="2820562" cy="2417494"/>
          </a:xfrm>
          <a:prstGeom prst="roundRect">
            <a:avLst>
              <a:gd name="adj" fmla="val 74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r>
              <a:rPr lang="en-US" sz="2000" b="1" dirty="0">
                <a:solidFill>
                  <a:schemeClr val="tx1"/>
                </a:solidFill>
              </a:rPr>
              <a:t>      </a:t>
            </a:r>
            <a:r>
              <a:rPr lang="en-US" sz="2000" b="1" dirty="0">
                <a:solidFill>
                  <a:srgbClr val="7030A0"/>
                </a:solidFill>
              </a:rPr>
              <a:t>Posts</a:t>
            </a:r>
          </a:p>
          <a:p>
            <a:endParaRPr lang="en-US" sz="2000" b="1" dirty="0">
              <a:solidFill>
                <a:schemeClr val="tx1"/>
              </a:solidFill>
            </a:endParaRPr>
          </a:p>
          <a:p>
            <a:pPr marL="457200" indent="-457200">
              <a:buFontTx/>
              <a:buAutoNum type="arabicPeriod"/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Hindi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nglish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rgbClr val="00B050"/>
                </a:solidFill>
              </a:rPr>
              <a:t>Math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rgbClr val="00B0F0"/>
                </a:solidFill>
              </a:rPr>
              <a:t>Science</a:t>
            </a:r>
          </a:p>
          <a:p>
            <a:pPr marL="457200" indent="-457200">
              <a:buAutoNum type="arabicPeriod"/>
            </a:pPr>
            <a:r>
              <a:rPr lang="en-US" sz="1600" b="1" dirty="0">
                <a:solidFill>
                  <a:srgbClr val="002060"/>
                </a:solidFill>
              </a:rPr>
              <a:t>Social</a:t>
            </a:r>
          </a:p>
        </p:txBody>
      </p:sp>
    </p:spTree>
    <p:extLst>
      <p:ext uri="{BB962C8B-B14F-4D97-AF65-F5344CB8AC3E}">
        <p14:creationId xmlns:p14="http://schemas.microsoft.com/office/powerpoint/2010/main" val="310068412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C4B4F-2DDE-F3AD-F9D0-9D317E2B5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17F1EB7-7953-7480-6A29-AB63D80A0D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17F1EB7-7953-7480-6A29-AB63D80A0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52D6088-3FBC-0DC1-DDF9-C5B13A7AF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Introduction to react Rou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AAA102-AA20-F1D3-F950-40B708E9D9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A9B1B3-4FB5-D8D7-2A68-79FE542580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68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6EA082C-3335-7A81-A1B2-E4762C5EA6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5"/>
            <a:ext cx="7091362" cy="731938"/>
          </a:xfrm>
        </p:spPr>
        <p:txBody>
          <a:bodyPr/>
          <a:lstStyle/>
          <a:p>
            <a:r>
              <a:rPr lang="en-US" dirty="0"/>
              <a:t>React Router helps us </a:t>
            </a:r>
            <a:r>
              <a:rPr lang="en-US" b="1" dirty="0"/>
              <a:t>create multiple pages</a:t>
            </a:r>
            <a:r>
              <a:rPr lang="en-US" dirty="0"/>
              <a:t> inside a React app without reloading the whole website.</a:t>
            </a:r>
          </a:p>
          <a:p>
            <a:r>
              <a:rPr lang="en-US" dirty="0"/>
              <a:t>It’s what makes </a:t>
            </a:r>
            <a:r>
              <a:rPr lang="en-US" b="1" dirty="0"/>
              <a:t>Single Page Applications (SPA)</a:t>
            </a:r>
            <a:r>
              <a:rPr lang="en-US" dirty="0"/>
              <a:t> feel like they have multiple pages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7D4A34-7D94-721A-187D-2F96C8E82F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4325" y="2161582"/>
            <a:ext cx="2997354" cy="120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78376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BB8157-BC2E-BDA9-CC0A-28C1FC963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45552F-ED22-01F0-71A9-4BE4E363DE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01292-993E-F244-3343-7C743A43F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9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C2CAFA-0998-ED48-B467-FAE3AFC4F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CREATING MULTIPLE pages</a:t>
            </a:r>
            <a:endParaRPr lang="en-US" kern="1200" cap="all" baseline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F657B8-07A5-D205-A647-2CFFC46F4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404" y="1032179"/>
            <a:ext cx="2702007" cy="3378863"/>
          </a:xfrm>
          <a:prstGeom prst="rect">
            <a:avLst/>
          </a:prstGeom>
        </p:spPr>
      </p:pic>
      <p:pic>
        <p:nvPicPr>
          <p:cNvPr id="6" name="Picture 2" descr="Understanding React Router with a Simple Blog Application">
            <a:extLst>
              <a:ext uri="{FF2B5EF4-FFF2-40B4-BE49-F238E27FC236}">
                <a16:creationId xmlns:a16="http://schemas.microsoft.com/office/drawing/2014/main" id="{0C132E9F-0E93-2437-DEF9-B9B41FBE1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51188" y="1307654"/>
            <a:ext cx="4497387" cy="252978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2752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FA528-DCB5-116E-D676-0240442311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B1CCE5F-A521-296B-24CC-030BD5D5EC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B1CCE5F-A521-296B-24CC-030BD5D5E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73253DD4-4571-8FC2-441E-740C05122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6319" y="2181005"/>
            <a:ext cx="7091362" cy="615553"/>
          </a:xfrm>
        </p:spPr>
        <p:txBody>
          <a:bodyPr/>
          <a:lstStyle/>
          <a:p>
            <a:pPr algn="ctr"/>
            <a:r>
              <a:rPr lang="en-US" b="1" cap="none" dirty="0"/>
              <a:t>For more, please refer</a:t>
            </a:r>
            <a:r>
              <a:rPr lang="en-US" b="1" dirty="0"/>
              <a:t>: </a:t>
            </a:r>
            <a:r>
              <a:rPr lang="en-US" b="1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ML Tutorial</a:t>
            </a:r>
            <a:endParaRPr lang="en-US" b="1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8796-7B95-40F8-C582-2454E84ACB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578DBE1-C4BC-16B5-158A-7996E82438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82697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7DFBD-F824-2E01-6AE5-8CEDE96F7A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ABDC8F-827B-6EF5-AE26-093394A31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all" baseline="0">
                <a:latin typeface="+mn-lt"/>
                <a:ea typeface="+mn-ea"/>
                <a:cs typeface="+mn-cs"/>
              </a:rPr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C8A0D47-0B6D-62D5-C6FC-7720665B94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7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12A7DF6-689E-CC64-68FC-F89834E1F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 cap="all" baseline="0" dirty="0"/>
              <a:t>Navigation between compon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08D5E6-CF54-DB54-CC08-3B04F1476351}"/>
              </a:ext>
            </a:extLst>
          </p:cNvPr>
          <p:cNvSpPr txBox="1"/>
          <p:nvPr/>
        </p:nvSpPr>
        <p:spPr>
          <a:xfrm>
            <a:off x="300038" y="1703211"/>
            <a:ext cx="371906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When you click Home → it loads &lt;Home /&gt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When you click About → it loads &lt;About /&gt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/>
                </a:solidFill>
              </a:rPr>
              <a:t>When you click Contact → it loads &lt;Contact /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14A6C7-BB51-0675-65EA-7D54C5733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4509" y="918765"/>
            <a:ext cx="3534771" cy="400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8534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491F8-9D9D-29E0-D9E4-F4448EF0BB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D98330E-F0FA-B64C-B6CA-A8FAA6597E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D98330E-F0FA-B64C-B6CA-A8FAA6597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AAD1A6E-E19F-868E-2E7B-2F871CF0A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343" y="1748050"/>
            <a:ext cx="3914738" cy="1648988"/>
          </a:xfrm>
        </p:spPr>
        <p:txBody>
          <a:bodyPr vert="horz"/>
          <a:lstStyle/>
          <a:p>
            <a:r>
              <a:rPr lang="en-US" dirty="0"/>
              <a:t>🚀 Preparing React App for Production &amp; Deployment</a:t>
            </a:r>
            <a:endParaRPr lang="en-US" cap="none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DCED23-2B18-1094-55ED-01CB11E3B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436540F-1FAF-07FF-2585-4376B80E02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1</a:t>
            </a:fld>
            <a:endParaRPr lang="en-US" noProof="0" dirty="0"/>
          </a:p>
        </p:txBody>
      </p:sp>
      <p:pic>
        <p:nvPicPr>
          <p:cNvPr id="10" name="Bildplatzhalter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C2FDC9AD-6E39-F3F2-C961-3F137D5A87F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46613" y="0"/>
            <a:ext cx="2744787" cy="5145088"/>
          </a:xfrm>
        </p:spPr>
      </p:pic>
    </p:spTree>
    <p:extLst>
      <p:ext uri="{BB962C8B-B14F-4D97-AF65-F5344CB8AC3E}">
        <p14:creationId xmlns:p14="http://schemas.microsoft.com/office/powerpoint/2010/main" val="54472331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D63D0-11E0-15CE-9C30-13C167195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B486BFA-0C2D-F91A-28D9-5C9DBEF9EE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B486BFA-0C2D-F91A-28D9-5C9DBEF9E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D7323112-CE58-04E6-5877-FDA525ADD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Preparing App for Produc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345973-3948-1BB5-D481-EFBC81207A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B479B27-726C-C616-B277-BFC8B53778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63D29-6C8A-BCD8-3577-0F401E027C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5"/>
            <a:ext cx="7091362" cy="731938"/>
          </a:xfrm>
        </p:spPr>
        <p:txBody>
          <a:bodyPr/>
          <a:lstStyle/>
          <a:p>
            <a:r>
              <a:rPr lang="en-US" dirty="0"/>
              <a:t>When development is finished, we need to </a:t>
            </a:r>
            <a:r>
              <a:rPr lang="en-US" b="1" dirty="0"/>
              <a:t>optimize the React app</a:t>
            </a:r>
            <a:r>
              <a:rPr lang="en-US" dirty="0"/>
              <a:t> so it loads faster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his creates a </a:t>
            </a:r>
            <a:r>
              <a:rPr lang="en-US" dirty="0" err="1"/>
              <a:t>dist</a:t>
            </a:r>
            <a:r>
              <a:rPr lang="en-US" dirty="0"/>
              <a:t> (Vite) folder with optimized files ready for hosting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B09856-7FCA-4DE3-CED7-3C4A21B2A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933" y="1532634"/>
            <a:ext cx="2330570" cy="116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5290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2EFFEC-0B95-4553-DA3B-79B1C8ABC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3C44F5E-9485-32EF-7861-90F03D1E8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3C44F5E-9485-32EF-7861-90F03D1E8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69EB3442-18D9-E6CF-83B3-23B66F9D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Git &amp; GitHub Basic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90FFE4-513F-BC6B-94D5-0D05DD6611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8CA15CF-D48B-40E8-AD8A-CEDECC907B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3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F002FC-06A7-46A4-ED95-9C209CF252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5"/>
            <a:ext cx="7091362" cy="731938"/>
          </a:xfrm>
        </p:spPr>
        <p:txBody>
          <a:bodyPr/>
          <a:lstStyle/>
          <a:p>
            <a:r>
              <a:rPr lang="en-US" dirty="0"/>
              <a:t>Git helps us </a:t>
            </a:r>
            <a:r>
              <a:rPr lang="en-US" b="1" dirty="0"/>
              <a:t>track changes</a:t>
            </a:r>
            <a:r>
              <a:rPr lang="en-US" dirty="0"/>
              <a:t> in code, and GitHub stores it onlin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46E5DF-116F-F3CC-D365-9FA4805AE4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343" y="1716057"/>
            <a:ext cx="4229317" cy="153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26623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682FAB-0EC7-8D12-A3CA-6B7054B3F9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05BA75-E8E0-6B38-74F4-CBF290B68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05BA75-E8E0-6B38-74F4-CBF290B68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B32F0865-6921-D0CD-7BF5-CC2FC256A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288133"/>
            <a:ext cx="7091362" cy="615553"/>
          </a:xfrm>
        </p:spPr>
        <p:txBody>
          <a:bodyPr/>
          <a:lstStyle/>
          <a:p>
            <a:r>
              <a:rPr lang="en-US" dirty="0"/>
              <a:t>Deploy on Netlify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20EC38F-FE7E-3734-CCAE-B03C195505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6A8F751-C078-88F3-970D-E4E1691DF3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4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CED5FAE-16E4-9A3B-17D5-F6119D9D0F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166664"/>
            <a:ext cx="4269580" cy="3384071"/>
          </a:xfrm>
        </p:spPr>
        <p:txBody>
          <a:bodyPr/>
          <a:lstStyle/>
          <a:p>
            <a:r>
              <a:rPr lang="en-US" dirty="0"/>
              <a:t>Go to https://netlify.com</a:t>
            </a:r>
          </a:p>
          <a:p>
            <a:r>
              <a:rPr lang="en-US" dirty="0"/>
              <a:t>Login (students can use GitHub account).</a:t>
            </a:r>
          </a:p>
          <a:p>
            <a:r>
              <a:rPr lang="en-US" dirty="0"/>
              <a:t>Click New Site → Import from GitHub.</a:t>
            </a:r>
          </a:p>
          <a:p>
            <a:r>
              <a:rPr lang="en-US" dirty="0"/>
              <a:t>Select your React project repo.</a:t>
            </a:r>
          </a:p>
          <a:p>
            <a:r>
              <a:rPr lang="en-US" dirty="0"/>
              <a:t>Netlify auto-detects React → build command: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i.e., publish directory: </a:t>
            </a:r>
            <a:r>
              <a:rPr lang="en-US" dirty="0" err="1"/>
              <a:t>dist</a:t>
            </a:r>
            <a:r>
              <a:rPr lang="en-US" dirty="0"/>
              <a:t> (Vite)</a:t>
            </a:r>
          </a:p>
          <a:p>
            <a:r>
              <a:rPr lang="en-US" dirty="0"/>
              <a:t>Click Deploy 🎉 → app is live with a free Netlify URL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330241-1374-3137-EE0E-5FAE617CDB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617" y="3197563"/>
            <a:ext cx="2517174" cy="34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28294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10405C-F863-46AF-BD68-1AAFB283A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10405C-F863-46AF-BD68-1AAFB283A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00EADB7-0EC7-4DF5-87D8-E1F4B8D55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9060" cy="512961"/>
          </a:xfrm>
        </p:spPr>
        <p:txBody>
          <a:bodyPr vert="horz"/>
          <a:lstStyle/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7DAEA0-5F99-491B-88F0-E51AE5A455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359E4-ACA6-4199-B351-FA44010F46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/>
          <a:lstStyle/>
          <a:p>
            <a:fld id="{54413C03-D129-4B04-B289-283874789DC0}" type="slidenum">
              <a:rPr lang="en-US" smtClean="0"/>
              <a:pPr/>
              <a:t>75</a:t>
            </a:fld>
            <a:endParaRPr lang="en-US" dirty="0"/>
          </a:p>
        </p:txBody>
      </p:sp>
      <p:pic>
        <p:nvPicPr>
          <p:cNvPr id="10" name="Bildplatzhalter 9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46D11A94-D46F-4FDB-B7C7-7AC26293E09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5088"/>
          </a:xfrm>
        </p:spPr>
      </p:pic>
    </p:spTree>
    <p:extLst>
      <p:ext uri="{BB962C8B-B14F-4D97-AF65-F5344CB8AC3E}">
        <p14:creationId xmlns:p14="http://schemas.microsoft.com/office/powerpoint/2010/main" val="3764670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D1AF3-D3D8-26CA-6712-FF80E7C153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201B2B-6FBE-1518-749E-094CB72C7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201B2B-6FBE-1518-749E-094CB72C7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35C8A0-E6F4-F5C0-582C-98AF3DA99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CS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4219D5-4ACA-2500-793E-9221D47D0A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A55EF68-3E1A-AD15-B47C-0A9CD1EABE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033B35-304A-9B55-69C9-6BBBAD88EC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3417" y="1171173"/>
            <a:ext cx="7091362" cy="188321"/>
          </a:xfrm>
        </p:spPr>
        <p:txBody>
          <a:bodyPr/>
          <a:lstStyle/>
          <a:p>
            <a:r>
              <a:rPr lang="en-US" dirty="0"/>
              <a:t>CSS (Cascading Style Sheets) – Desig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07832E-BE7E-D60F-ACC3-93B208E86D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3417" y="1683006"/>
            <a:ext cx="7091362" cy="2539005"/>
          </a:xfrm>
        </p:spPr>
        <p:txBody>
          <a:bodyPr/>
          <a:lstStyle/>
          <a:p>
            <a:r>
              <a:rPr lang="en-US" dirty="0"/>
              <a:t>CSS is the </a:t>
            </a:r>
            <a:r>
              <a:rPr lang="en-US" b="1" dirty="0"/>
              <a:t>clothing/decoration</a:t>
            </a:r>
            <a:r>
              <a:rPr lang="en-US" dirty="0"/>
              <a:t> of a web page.</a:t>
            </a:r>
          </a:p>
          <a:p>
            <a:r>
              <a:rPr lang="en-US" dirty="0"/>
              <a:t>It controls </a:t>
            </a:r>
            <a:r>
              <a:rPr lang="en-US" b="1" dirty="0"/>
              <a:t>colors, fonts, layouts, backgrounds, spacing</a:t>
            </a:r>
            <a:r>
              <a:rPr lang="en-US" dirty="0"/>
              <a:t>.</a:t>
            </a:r>
          </a:p>
          <a:p>
            <a:r>
              <a:rPr lang="en-US" dirty="0"/>
              <a:t>CSS = How it looks (sty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8471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3F96EA-7309-7CEA-3F26-E9B36212C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34CBFE-D997-5F8C-9AA8-42EE8B5D3F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808606-E8B7-C11C-F8C2-4345933843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F3D4AC-4404-7AA3-DA9F-448E18BFF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CSS Concepts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C928F23A-DCCD-AAC4-3C63-638FC6FF44F9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00736E14-1CF2-EC1A-F13A-8FEFA971C93D}"/>
              </a:ext>
            </a:extLst>
          </p:cNvPr>
          <p:cNvSpPr txBox="1">
            <a:spLocks/>
          </p:cNvSpPr>
          <p:nvPr/>
        </p:nvSpPr>
        <p:spPr>
          <a:xfrm>
            <a:off x="213691" y="1201365"/>
            <a:ext cx="6934532" cy="3729038"/>
          </a:xfrm>
          <a:prstGeom prst="rect">
            <a:avLst/>
          </a:prstGeom>
        </p:spPr>
        <p:txBody>
          <a:bodyPr/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hree ways of using style sheet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Box Model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Media Queries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Flex box </a:t>
            </a:r>
          </a:p>
          <a:p>
            <a:pPr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Grid </a:t>
            </a:r>
          </a:p>
          <a:p>
            <a:pPr>
              <a:buClr>
                <a:schemeClr val="bg1"/>
              </a:buClr>
            </a:pPr>
            <a:endParaRPr lang="en-US" sz="1600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en-US" sz="16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712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aff958d4-5f71-4e90-bfe1-a52ab6a9a6c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nkel_Master_EN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 Henkel 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80000" tIns="144000" rIns="180000" bIns="144000" rtlCol="0" anchor="t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marL="162000" indent="-162000" algn="l" defTabSz="685800">
          <a:lnSpc>
            <a:spcPct val="114000"/>
          </a:lnSpc>
          <a:spcAft>
            <a:spcPts val="1200"/>
          </a:spcAft>
          <a:buClr>
            <a:schemeClr val="accent1"/>
          </a:buClr>
          <a:buSzPct val="100000"/>
          <a:buFont typeface="Wingdings" panose="05000000000000000000" pitchFamily="2" charset="2"/>
          <a:buChar char="§"/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Henkel PPT Template.pptx" id="{53EEE8EB-EB05-4128-A489-5074B0BCE927}" vid="{042B78F7-4D3D-495E-A87C-6229CE44AAFA}"/>
    </a:ext>
  </a:extLst>
</a:theme>
</file>

<file path=ppt/theme/theme2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A3342A4612824A984C9D3B6A427442" ma:contentTypeVersion="8" ma:contentTypeDescription="Create a new document." ma:contentTypeScope="" ma:versionID="a6ab8473d9b7c3f86d452009d11bc564">
  <xsd:schema xmlns:xsd="http://www.w3.org/2001/XMLSchema" xmlns:xs="http://www.w3.org/2001/XMLSchema" xmlns:p="http://schemas.microsoft.com/office/2006/metadata/properties" xmlns:ns2="41cfcdc3-71d6-4f22-98da-a03455e31e1e" xmlns:ns3="f6c43736-06a3-4b01-9241-d507a38380c5" targetNamespace="http://schemas.microsoft.com/office/2006/metadata/properties" ma:root="true" ma:fieldsID="c4f460adf626c0f020155bcf5a1d9ecf" ns2:_="" ns3:_="">
    <xsd:import namespace="41cfcdc3-71d6-4f22-98da-a03455e31e1e"/>
    <xsd:import namespace="f6c43736-06a3-4b01-9241-d507a38380c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cfcdc3-71d6-4f22-98da-a03455e31e1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43736-06a3-4b01-9241-d507a3838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72f792e8-4dad-42c1-ad63-44982727bf4d" ContentTypeId="0x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810E311-6271-432D-AB10-6E4D630007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cfcdc3-71d6-4f22-98da-a03455e31e1e"/>
    <ds:schemaRef ds:uri="f6c43736-06a3-4b01-9241-d507a38380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16BC72-8BF2-437E-AAED-829A1B7442F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7CF7434-E26D-4085-9ED2-B86CC45AE79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CC2817D-4C97-4B64-8971-3B82218F0E7C}">
  <ds:schemaRefs>
    <ds:schemaRef ds:uri="41cfcdc3-71d6-4f22-98da-a03455e31e1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f6c43736-06a3-4b01-9241-d507a38380c5"/>
    <ds:schemaRef ds:uri="http://schemas.microsoft.com/office/infopath/2007/PartnerControls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nkel PPT Template</Template>
  <TotalTime>0</TotalTime>
  <Words>2536</Words>
  <Application>Microsoft Office PowerPoint</Application>
  <PresentationFormat>Custom</PresentationFormat>
  <Paragraphs>508</Paragraphs>
  <Slides>75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81" baseType="lpstr">
      <vt:lpstr>Arial</vt:lpstr>
      <vt:lpstr>GT Flexa Rg</vt:lpstr>
      <vt:lpstr>Segoe UI</vt:lpstr>
      <vt:lpstr>Wingdings</vt:lpstr>
      <vt:lpstr>Henkel_Master_EN</vt:lpstr>
      <vt:lpstr>think-cell Folie</vt:lpstr>
      <vt:lpstr>“Let’s Build Cool Websites with ReactJS!”</vt:lpstr>
      <vt:lpstr>What is frontend development</vt:lpstr>
      <vt:lpstr>Introduction to HTML, CSS, and JavaScript</vt:lpstr>
      <vt:lpstr>HTML Concepts</vt:lpstr>
      <vt:lpstr>Tables</vt:lpstr>
      <vt:lpstr>Semantic Elements</vt:lpstr>
      <vt:lpstr>For more, please refer: HTML Tutorial</vt:lpstr>
      <vt:lpstr>Introduction to CSS</vt:lpstr>
      <vt:lpstr>CSS Concepts</vt:lpstr>
      <vt:lpstr>Three ways of using CSS</vt:lpstr>
      <vt:lpstr>Box Model (content, padding, border, margin)</vt:lpstr>
      <vt:lpstr>Media Queries (Responsive Design)</vt:lpstr>
      <vt:lpstr>Flexbox (Flexible Box Layout)</vt:lpstr>
      <vt:lpstr>Grid Layout</vt:lpstr>
      <vt:lpstr>For more, please refer: CSS Tutorial</vt:lpstr>
      <vt:lpstr>Introduction to JavaScript</vt:lpstr>
      <vt:lpstr>Javacript Concepts</vt:lpstr>
      <vt:lpstr>Javacript Concepts</vt:lpstr>
      <vt:lpstr>Javacript Concepts</vt:lpstr>
      <vt:lpstr>Javacript Concepts</vt:lpstr>
      <vt:lpstr>Javacript Concepts</vt:lpstr>
      <vt:lpstr>For more, please refer: The Modern JavaScript Tutorial</vt:lpstr>
      <vt:lpstr>Developer Tools</vt:lpstr>
      <vt:lpstr>Developer Tools</vt:lpstr>
      <vt:lpstr>Developer Tools</vt:lpstr>
      <vt:lpstr>Developer Tools</vt:lpstr>
      <vt:lpstr>How the Web Works</vt:lpstr>
      <vt:lpstr>How the Web Works</vt:lpstr>
      <vt:lpstr>Using VS Code</vt:lpstr>
      <vt:lpstr>Using VS Code</vt:lpstr>
      <vt:lpstr>Using VS Code</vt:lpstr>
      <vt:lpstr>Slide Title, Segoe UI, 24pt, Max. 2 Lines</vt:lpstr>
      <vt:lpstr>Slide Title, Segoe UI, 24pt, Max. 2 Lines</vt:lpstr>
      <vt:lpstr>Introduction to react</vt:lpstr>
      <vt:lpstr>Key features</vt:lpstr>
      <vt:lpstr>Setting up a React Project with Vite</vt:lpstr>
      <vt:lpstr>Create a react project</vt:lpstr>
      <vt:lpstr>Project structure</vt:lpstr>
      <vt:lpstr>JSX – Writing HTML inside JavaScript</vt:lpstr>
      <vt:lpstr>Slide Title, Segoe UI, 24pt, Max. 2 Lines</vt:lpstr>
      <vt:lpstr>What is the difference?</vt:lpstr>
      <vt:lpstr>What are Props in React?</vt:lpstr>
      <vt:lpstr>Slide Title, Segoe UI, 24pt, Max. 2 Lines</vt:lpstr>
      <vt:lpstr>Slide Title, Segoe UI, 24pt, Max. 2 Lines</vt:lpstr>
      <vt:lpstr>Passing Data from Child to Parent</vt:lpstr>
      <vt:lpstr>Slide Title, Segoe UI, 24pt, Max. 2 Lines</vt:lpstr>
      <vt:lpstr>Child → Parent communication</vt:lpstr>
      <vt:lpstr>State - Using useState to manage data</vt:lpstr>
      <vt:lpstr>Slide Title, Segoe UI, 24pt, Max. 2 Lines</vt:lpstr>
      <vt:lpstr>useEffect</vt:lpstr>
      <vt:lpstr>What IS USEEFFECT And How to use it?</vt:lpstr>
      <vt:lpstr>Slide Title, Segoe UI, 24pt, Max. 2 Lines</vt:lpstr>
      <vt:lpstr>Slide Title, Segoe UI, 24pt, Max. 2 Lines</vt:lpstr>
      <vt:lpstr>Slide Title, Segoe UI, 24pt, Max. 2 Lines</vt:lpstr>
      <vt:lpstr>Conditional rendering (Hide/Show)</vt:lpstr>
      <vt:lpstr>Lists and Keys</vt:lpstr>
      <vt:lpstr>Forms in react</vt:lpstr>
      <vt:lpstr>Event handling</vt:lpstr>
      <vt:lpstr>Slide Title, Segoe UI, 24pt, Max. 2 Lines</vt:lpstr>
      <vt:lpstr>WHAT IS AN API?</vt:lpstr>
      <vt:lpstr>Event handling</vt:lpstr>
      <vt:lpstr>JSON</vt:lpstr>
      <vt:lpstr>Json example</vt:lpstr>
      <vt:lpstr>Using fetch with async/await</vt:lpstr>
      <vt:lpstr>Using fetch with .then()</vt:lpstr>
      <vt:lpstr>Handle loading &amp; Errors</vt:lpstr>
      <vt:lpstr>Rendering API data in UI</vt:lpstr>
      <vt:lpstr>Introduction to react Router</vt:lpstr>
      <vt:lpstr>CREATING MULTIPLE pages</vt:lpstr>
      <vt:lpstr>Navigation between components</vt:lpstr>
      <vt:lpstr>🚀 Preparing React App for Production &amp; Deployment</vt:lpstr>
      <vt:lpstr>Preparing App for Production</vt:lpstr>
      <vt:lpstr>Git &amp; GitHub Basics</vt:lpstr>
      <vt:lpstr>Deploy on Netlify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vedha N A</dc:creator>
  <cp:lastModifiedBy>Nivedha N A</cp:lastModifiedBy>
  <cp:revision>1</cp:revision>
  <dcterms:created xsi:type="dcterms:W3CDTF">2025-09-01T09:30:01Z</dcterms:created>
  <dcterms:modified xsi:type="dcterms:W3CDTF">2025-09-09T05:2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A3342A4612824A984C9D3B6A427442</vt:lpwstr>
  </property>
</Properties>
</file>